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6"/>
  </p:notesMasterIdLst>
  <p:sldIdLst>
    <p:sldId id="257" r:id="rId2"/>
    <p:sldId id="1332" r:id="rId3"/>
    <p:sldId id="1333" r:id="rId4"/>
    <p:sldId id="1334"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garet Arbogast" initials="MA" lastIdx="6" clrIdx="0"/>
  <p:cmAuthor id="2" name="Richard Balagtas" initials="RB" lastIdx="5" clrIdx="1"/>
  <p:cmAuthor id="3" name="Jessica Cerullo" initials="JC" lastIdx="8" clrIdx="2"/>
  <p:cmAuthor id="4" name="Tim Turnham" initials="TT" lastIdx="4" clrIdx="3"/>
  <p:cmAuthor id="5" name="Julie Armour" initials="" lastIdx="4"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1BB"/>
    <a:srgbClr val="CD9405"/>
    <a:srgbClr val="023761"/>
    <a:srgbClr val="B33413"/>
    <a:srgbClr val="972139"/>
    <a:srgbClr val="FFFFFF"/>
    <a:srgbClr val="9D1764"/>
    <a:srgbClr val="94175D"/>
    <a:srgbClr val="DDF3F1"/>
    <a:srgbClr val="9B9D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68"/>
    <p:restoredTop sz="84948" autoAdjust="0"/>
  </p:normalViewPr>
  <p:slideViewPr>
    <p:cSldViewPr snapToGrid="0" snapToObjects="1" showGuides="1">
      <p:cViewPr varScale="1">
        <p:scale>
          <a:sx n="76" d="100"/>
          <a:sy n="76" d="100"/>
        </p:scale>
        <p:origin x="1200" y="90"/>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3019D3-65F5-3B48-B8E2-4E457DAF8BC3}" type="datetimeFigureOut">
              <a:rPr lang="en-US" smtClean="0"/>
              <a:t>11/7/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DBAADA-4DF1-D042-A860-9513AF4B42B9}" type="slidenum">
              <a:rPr lang="en-US" smtClean="0"/>
              <a:t>‹#›</a:t>
            </a:fld>
            <a:endParaRPr lang="en-US" dirty="0"/>
          </a:p>
        </p:txBody>
      </p:sp>
    </p:spTree>
    <p:extLst>
      <p:ext uri="{BB962C8B-B14F-4D97-AF65-F5344CB8AC3E}">
        <p14:creationId xmlns:p14="http://schemas.microsoft.com/office/powerpoint/2010/main" val="609655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sz="1200" kern="1200" dirty="0">
                <a:solidFill>
                  <a:schemeClr val="tx1"/>
                </a:solidFill>
                <a:effectLst/>
                <a:latin typeface="+mn-lt"/>
                <a:ea typeface="+mn-ea"/>
                <a:cs typeface="+mn-cs"/>
              </a:rPr>
              <a:t>Albert, Nancy M., et al. “Transitions of Care in Heart Failure: A Scientific Statement from the American Heart Association”. </a:t>
            </a:r>
            <a:r>
              <a:rPr lang="en-US" sz="1200" i="1" kern="1200" dirty="0">
                <a:solidFill>
                  <a:schemeClr val="tx1"/>
                </a:solidFill>
                <a:effectLst/>
                <a:latin typeface="+mn-lt"/>
                <a:ea typeface="+mn-ea"/>
                <a:cs typeface="+mn-cs"/>
              </a:rPr>
              <a:t>Circulation: Heart Failure</a:t>
            </a:r>
            <a:r>
              <a:rPr lang="en-US" sz="1200" kern="1200" dirty="0">
                <a:solidFill>
                  <a:schemeClr val="tx1"/>
                </a:solidFill>
                <a:effectLst/>
                <a:latin typeface="+mn-lt"/>
                <a:ea typeface="+mn-ea"/>
                <a:cs typeface="+mn-cs"/>
              </a:rPr>
              <a:t> 8 (2015): 384-409.</a:t>
            </a:r>
          </a:p>
        </p:txBody>
      </p:sp>
      <p:sp>
        <p:nvSpPr>
          <p:cNvPr id="4" name="Slide Number Placeholder 3"/>
          <p:cNvSpPr>
            <a:spLocks noGrp="1"/>
          </p:cNvSpPr>
          <p:nvPr>
            <p:ph type="sldNum" sz="quarter" idx="5"/>
          </p:nvPr>
        </p:nvSpPr>
        <p:spPr/>
        <p:txBody>
          <a:bodyPr/>
          <a:lstStyle/>
          <a:p>
            <a:fld id="{DFDBAADA-4DF1-D042-A860-9513AF4B42B9}" type="slidenum">
              <a:rPr lang="en-US" smtClean="0"/>
              <a:t>2</a:t>
            </a:fld>
            <a:endParaRPr lang="en-US" dirty="0"/>
          </a:p>
        </p:txBody>
      </p:sp>
    </p:spTree>
    <p:extLst>
      <p:ext uri="{BB962C8B-B14F-4D97-AF65-F5344CB8AC3E}">
        <p14:creationId xmlns:p14="http://schemas.microsoft.com/office/powerpoint/2010/main" val="1986625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r>
              <a:rPr lang="en-US" sz="1200" dirty="0">
                <a:latin typeface="Arial" panose="020B0604020202020204" pitchFamily="34" charset="0"/>
                <a:ea typeface="Times New Roman" panose="02020603050405020304" pitchFamily="18" charset="0"/>
              </a:rPr>
              <a:t>Social engagement tend increase during the week compared with the weekend. In addition, launching the HF Charter amidst SS19 may cause it to become lost amongst other posts.  </a:t>
            </a:r>
            <a:endParaRPr lang="en-US" dirty="0"/>
          </a:p>
        </p:txBody>
      </p:sp>
      <p:sp>
        <p:nvSpPr>
          <p:cNvPr id="4" name="Slide Number Placeholder 3"/>
          <p:cNvSpPr>
            <a:spLocks noGrp="1"/>
          </p:cNvSpPr>
          <p:nvPr>
            <p:ph type="sldNum" sz="quarter" idx="5"/>
          </p:nvPr>
        </p:nvSpPr>
        <p:spPr/>
        <p:txBody>
          <a:bodyPr/>
          <a:lstStyle/>
          <a:p>
            <a:fld id="{DFDBAADA-4DF1-D042-A860-9513AF4B42B9}" type="slidenum">
              <a:rPr lang="en-US" smtClean="0"/>
              <a:t>3</a:t>
            </a:fld>
            <a:endParaRPr lang="en-US" dirty="0"/>
          </a:p>
        </p:txBody>
      </p:sp>
    </p:spTree>
    <p:extLst>
      <p:ext uri="{BB962C8B-B14F-4D97-AF65-F5344CB8AC3E}">
        <p14:creationId xmlns:p14="http://schemas.microsoft.com/office/powerpoint/2010/main" val="41068300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A7B607E-E7A6-4B09-8808-528F234A1C95}"/>
              </a:ext>
            </a:extLst>
          </p:cNvPr>
          <p:cNvPicPr>
            <a:picLocks noChangeAspect="1"/>
          </p:cNvPicPr>
          <p:nvPr userDrawn="1"/>
        </p:nvPicPr>
        <p:blipFill rotWithShape="1">
          <a:blip r:embed="rId2"/>
          <a:srcRect l="9145" t="4670" r="95" b="10442"/>
          <a:stretch/>
        </p:blipFill>
        <p:spPr>
          <a:xfrm>
            <a:off x="1" y="333374"/>
            <a:ext cx="8155798" cy="5721141"/>
          </a:xfrm>
          <a:prstGeom prst="rect">
            <a:avLst/>
          </a:prstGeom>
        </p:spPr>
      </p:pic>
      <p:sp>
        <p:nvSpPr>
          <p:cNvPr id="13" name="Rectangle 12">
            <a:extLst>
              <a:ext uri="{FF2B5EF4-FFF2-40B4-BE49-F238E27FC236}">
                <a16:creationId xmlns:a16="http://schemas.microsoft.com/office/drawing/2014/main" id="{4C8581AC-A46C-44DC-8209-13678239F426}"/>
              </a:ext>
            </a:extLst>
          </p:cNvPr>
          <p:cNvSpPr/>
          <p:nvPr userDrawn="1"/>
        </p:nvSpPr>
        <p:spPr>
          <a:xfrm>
            <a:off x="0" y="3325159"/>
            <a:ext cx="6995160" cy="2729357"/>
          </a:xfrm>
          <a:prstGeom prst="rect">
            <a:avLst/>
          </a:prstGeom>
          <a:solidFill>
            <a:srgbClr val="9B9D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8AC6CD8-C900-4DDC-9DCB-B37568CD7F95}"/>
              </a:ext>
            </a:extLst>
          </p:cNvPr>
          <p:cNvSpPr/>
          <p:nvPr userDrawn="1"/>
        </p:nvSpPr>
        <p:spPr>
          <a:xfrm>
            <a:off x="658367" y="3949089"/>
            <a:ext cx="7500335" cy="2575537"/>
          </a:xfrm>
          <a:prstGeom prst="rect">
            <a:avLst/>
          </a:prstGeom>
          <a:solidFill>
            <a:srgbClr val="55C3B9">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4400C846-598F-4DB7-9E70-EF8B8A3A509E}"/>
              </a:ext>
            </a:extLst>
          </p:cNvPr>
          <p:cNvSpPr/>
          <p:nvPr userDrawn="1"/>
        </p:nvSpPr>
        <p:spPr>
          <a:xfrm>
            <a:off x="8155798" y="-4957"/>
            <a:ext cx="4036201" cy="6883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a:extLst>
              <a:ext uri="{FF2B5EF4-FFF2-40B4-BE49-F238E27FC236}">
                <a16:creationId xmlns:a16="http://schemas.microsoft.com/office/drawing/2014/main" id="{4D5EEFD8-F30A-44E2-9374-C627406E2E9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12770" y="2270882"/>
            <a:ext cx="3449716" cy="2316236"/>
          </a:xfrm>
          <a:prstGeom prst="rect">
            <a:avLst/>
          </a:prstGeom>
        </p:spPr>
      </p:pic>
      <p:sp>
        <p:nvSpPr>
          <p:cNvPr id="18" name="Title 1">
            <a:extLst>
              <a:ext uri="{FF2B5EF4-FFF2-40B4-BE49-F238E27FC236}">
                <a16:creationId xmlns:a16="http://schemas.microsoft.com/office/drawing/2014/main" id="{CD12447F-4888-44C2-924A-17B5BFECD0CA}"/>
              </a:ext>
            </a:extLst>
          </p:cNvPr>
          <p:cNvSpPr>
            <a:spLocks noGrp="1"/>
          </p:cNvSpPr>
          <p:nvPr>
            <p:ph type="title" hasCustomPrompt="1"/>
          </p:nvPr>
        </p:nvSpPr>
        <p:spPr>
          <a:xfrm>
            <a:off x="1163544" y="4451224"/>
            <a:ext cx="5817108" cy="1603292"/>
          </a:xfrm>
        </p:spPr>
        <p:txBody>
          <a:bodyPr anchor="t">
            <a:normAutofit/>
          </a:bodyPr>
          <a:lstStyle>
            <a:lvl1pPr>
              <a:defRPr sz="3200" b="0" baseline="0">
                <a:solidFill>
                  <a:schemeClr val="bg1"/>
                </a:solidFill>
                <a:latin typeface="Arial" charset="0"/>
                <a:ea typeface="Arial" charset="0"/>
                <a:cs typeface="Arial" charset="0"/>
              </a:defRPr>
            </a:lvl1pPr>
          </a:lstStyle>
          <a:p>
            <a:r>
              <a:rPr lang="en-US" dirty="0"/>
              <a:t>TITLE SLIDE WITH PHOTO OPTION 1	</a:t>
            </a:r>
            <a:br>
              <a:rPr lang="en-US" dirty="0"/>
            </a:br>
            <a:br>
              <a:rPr lang="en-US" dirty="0"/>
            </a:br>
            <a:endParaRPr lang="en-US" dirty="0"/>
          </a:p>
        </p:txBody>
      </p:sp>
      <p:sp>
        <p:nvSpPr>
          <p:cNvPr id="19" name="Rectangle 18">
            <a:extLst>
              <a:ext uri="{FF2B5EF4-FFF2-40B4-BE49-F238E27FC236}">
                <a16:creationId xmlns:a16="http://schemas.microsoft.com/office/drawing/2014/main" id="{E27A20A2-6E90-4034-84AC-3A2939CCE19C}"/>
              </a:ext>
            </a:extLst>
          </p:cNvPr>
          <p:cNvSpPr/>
          <p:nvPr userDrawn="1"/>
        </p:nvSpPr>
        <p:spPr>
          <a:xfrm>
            <a:off x="1163543" y="5800436"/>
            <a:ext cx="2319528" cy="500351"/>
          </a:xfrm>
          <a:prstGeom prst="rect">
            <a:avLst/>
          </a:prstGeom>
          <a:solidFill>
            <a:srgbClr val="941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pic>
        <p:nvPicPr>
          <p:cNvPr id="21" name="Picture 20">
            <a:extLst>
              <a:ext uri="{FF2B5EF4-FFF2-40B4-BE49-F238E27FC236}">
                <a16:creationId xmlns:a16="http://schemas.microsoft.com/office/drawing/2014/main" id="{0C214833-45C2-4F28-9510-326B894B72A5}"/>
              </a:ext>
            </a:extLst>
          </p:cNvPr>
          <p:cNvPicPr>
            <a:picLocks noChangeAspect="1"/>
          </p:cNvPicPr>
          <p:nvPr userDrawn="1"/>
        </p:nvPicPr>
        <p:blipFill>
          <a:blip r:embed="rId4"/>
          <a:stretch>
            <a:fillRect/>
          </a:stretch>
        </p:blipFill>
        <p:spPr>
          <a:xfrm>
            <a:off x="1180307" y="3735994"/>
            <a:ext cx="1143000" cy="419100"/>
          </a:xfrm>
          <a:prstGeom prst="rect">
            <a:avLst/>
          </a:prstGeom>
        </p:spPr>
      </p:pic>
      <p:sp>
        <p:nvSpPr>
          <p:cNvPr id="22" name="Text Placeholder 19">
            <a:extLst>
              <a:ext uri="{FF2B5EF4-FFF2-40B4-BE49-F238E27FC236}">
                <a16:creationId xmlns:a16="http://schemas.microsoft.com/office/drawing/2014/main" id="{A4F5E909-F0A9-4FDF-9E79-77D014FA1375}"/>
              </a:ext>
            </a:extLst>
          </p:cNvPr>
          <p:cNvSpPr>
            <a:spLocks noGrp="1"/>
          </p:cNvSpPr>
          <p:nvPr>
            <p:ph type="body" sz="quarter" idx="10" hasCustomPrompt="1"/>
          </p:nvPr>
        </p:nvSpPr>
        <p:spPr>
          <a:xfrm>
            <a:off x="1270000" y="5800435"/>
            <a:ext cx="1808163" cy="500352"/>
          </a:xfrm>
        </p:spPr>
        <p:txBody>
          <a:bodyPr anchor="ctr" anchorCtr="0">
            <a:normAutofit/>
          </a:bodyPr>
          <a:lstStyle>
            <a:lvl1pPr marL="0" indent="0">
              <a:buNone/>
              <a:defRPr sz="1800" b="1" i="0">
                <a:solidFill>
                  <a:schemeClr val="bg1"/>
                </a:solidFill>
                <a:latin typeface="Arial" charset="0"/>
                <a:ea typeface="Arial" charset="0"/>
                <a:cs typeface="Arial" charset="0"/>
              </a:defRPr>
            </a:lvl1pPr>
            <a:lvl5pPr marL="1828800" indent="0" algn="l">
              <a:buNone/>
              <a:defRPr/>
            </a:lvl5pPr>
          </a:lstStyle>
          <a:p>
            <a:pPr lvl="0"/>
            <a:r>
              <a:rPr lang="en-US" dirty="0"/>
              <a:t>Date</a:t>
            </a:r>
          </a:p>
        </p:txBody>
      </p:sp>
    </p:spTree>
    <p:extLst>
      <p:ext uri="{BB962C8B-B14F-4D97-AF65-F5344CB8AC3E}">
        <p14:creationId xmlns:p14="http://schemas.microsoft.com/office/powerpoint/2010/main" val="12760619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BE1F628-97F9-4128-8FB9-391CA2DC2CA8}"/>
              </a:ext>
            </a:extLst>
          </p:cNvPr>
          <p:cNvSpPr>
            <a:spLocks noGrp="1"/>
          </p:cNvSpPr>
          <p:nvPr>
            <p:ph type="title"/>
          </p:nvPr>
        </p:nvSpPr>
        <p:spPr>
          <a:xfrm>
            <a:off x="990600" y="517525"/>
            <a:ext cx="10515600" cy="429768"/>
          </a:xfrm>
        </p:spPr>
        <p:txBody>
          <a:bodyPr>
            <a:noAutofit/>
          </a:bodyPr>
          <a:lstStyle>
            <a:lvl1pPr>
              <a:defRPr sz="3000" b="1" i="0">
                <a:solidFill>
                  <a:srgbClr val="94175D"/>
                </a:solidFill>
                <a:latin typeface="Arial" charset="0"/>
                <a:ea typeface="Arial" charset="0"/>
                <a:cs typeface="Arial" charset="0"/>
              </a:defRPr>
            </a:lvl1pPr>
          </a:lstStyle>
          <a:p>
            <a:r>
              <a:rPr lang="en-US" dirty="0"/>
              <a:t>Click to edit Master title style</a:t>
            </a:r>
          </a:p>
        </p:txBody>
      </p:sp>
      <p:sp>
        <p:nvSpPr>
          <p:cNvPr id="9" name="Content Placeholder 2">
            <a:extLst>
              <a:ext uri="{FF2B5EF4-FFF2-40B4-BE49-F238E27FC236}">
                <a16:creationId xmlns:a16="http://schemas.microsoft.com/office/drawing/2014/main" id="{27264981-85D3-4E0E-BA8E-EEB0B58CC2C8}"/>
              </a:ext>
            </a:extLst>
          </p:cNvPr>
          <p:cNvSpPr>
            <a:spLocks noGrp="1"/>
          </p:cNvSpPr>
          <p:nvPr>
            <p:ph idx="1"/>
          </p:nvPr>
        </p:nvSpPr>
        <p:spPr>
          <a:xfrm>
            <a:off x="990600" y="1360714"/>
            <a:ext cx="10515600" cy="4968649"/>
          </a:xfrm>
        </p:spPr>
        <p:txBody>
          <a:bodyPr/>
          <a:lstStyle>
            <a:lvl1pPr>
              <a:defRPr sz="3000" b="0" i="0">
                <a:solidFill>
                  <a:schemeClr val="tx1"/>
                </a:solidFill>
                <a:latin typeface="Arial" charset="0"/>
                <a:ea typeface="Arial" charset="0"/>
                <a:cs typeface="Arial" charset="0"/>
              </a:defRPr>
            </a:lvl1pPr>
            <a:lvl2pPr>
              <a:defRPr b="0" i="0">
                <a:solidFill>
                  <a:schemeClr val="tx1"/>
                </a:solidFill>
                <a:latin typeface="Arial" charset="0"/>
                <a:ea typeface="Arial" charset="0"/>
                <a:cs typeface="Arial" charset="0"/>
              </a:defRPr>
            </a:lvl2pPr>
            <a:lvl3pPr>
              <a:defRPr b="0" i="0">
                <a:solidFill>
                  <a:schemeClr val="tx1"/>
                </a:solidFill>
                <a:latin typeface="Arial" charset="0"/>
                <a:ea typeface="Arial" charset="0"/>
                <a:cs typeface="Arial" charset="0"/>
              </a:defRPr>
            </a:lvl3pPr>
            <a:lvl4pPr>
              <a:defRPr>
                <a:solidFill>
                  <a:srgbClr val="243F46"/>
                </a:solidFill>
              </a:defRPr>
            </a:lvl4pPr>
            <a:lvl5pPr>
              <a:defRPr>
                <a:solidFill>
                  <a:srgbClr val="243F46"/>
                </a:solidFill>
              </a:defRPr>
            </a:lvl5pPr>
          </a:lstStyle>
          <a:p>
            <a:pPr lvl="0"/>
            <a:r>
              <a:rPr lang="en-US" dirty="0"/>
              <a:t>Click to edit Master text styles</a:t>
            </a:r>
          </a:p>
          <a:p>
            <a:pPr lvl="1"/>
            <a:r>
              <a:rPr lang="en-US" dirty="0"/>
              <a:t>Second level</a:t>
            </a:r>
          </a:p>
          <a:p>
            <a:pPr lvl="2"/>
            <a:r>
              <a:rPr lang="en-US" dirty="0"/>
              <a:t>Third level</a:t>
            </a:r>
          </a:p>
        </p:txBody>
      </p:sp>
      <p:sp>
        <p:nvSpPr>
          <p:cNvPr id="13" name="Date Placeholder 3">
            <a:extLst>
              <a:ext uri="{FF2B5EF4-FFF2-40B4-BE49-F238E27FC236}">
                <a16:creationId xmlns:a16="http://schemas.microsoft.com/office/drawing/2014/main" id="{B25632D7-AED1-4F57-A36B-BCCDD8A89BB8}"/>
              </a:ext>
            </a:extLst>
          </p:cNvPr>
          <p:cNvSpPr>
            <a:spLocks noGrp="1"/>
          </p:cNvSpPr>
          <p:nvPr>
            <p:ph type="dt" sz="half" idx="2"/>
          </p:nvPr>
        </p:nvSpPr>
        <p:spPr>
          <a:xfrm>
            <a:off x="1338682" y="6176963"/>
            <a:ext cx="2242718" cy="246570"/>
          </a:xfrm>
          <a:prstGeom prst="rect">
            <a:avLst/>
          </a:prstGeom>
        </p:spPr>
        <p:txBody>
          <a:bodyPr vert="horz" lIns="91440" tIns="45720" rIns="91440" bIns="45720" rtlCol="0" anchor="b"/>
          <a:lstStyle>
            <a:lvl1pPr algn="l">
              <a:defRPr sz="900">
                <a:solidFill>
                  <a:schemeClr val="tx1">
                    <a:tint val="75000"/>
                  </a:schemeClr>
                </a:solidFill>
                <a:latin typeface="Helvetica" charset="0"/>
                <a:ea typeface="Helvetica" charset="0"/>
                <a:cs typeface="Helvetica" charset="0"/>
              </a:defRPr>
            </a:lvl1pPr>
          </a:lstStyle>
          <a:p>
            <a:fld id="{9174E389-451C-4EFF-9E17-8D5529CC6607}" type="datetime1">
              <a:rPr lang="en-US" smtClean="0"/>
              <a:t>11/7/2019</a:t>
            </a:fld>
            <a:endParaRPr lang="en-US" dirty="0"/>
          </a:p>
        </p:txBody>
      </p:sp>
      <p:sp>
        <p:nvSpPr>
          <p:cNvPr id="14" name="Footer Placeholder 4">
            <a:extLst>
              <a:ext uri="{FF2B5EF4-FFF2-40B4-BE49-F238E27FC236}">
                <a16:creationId xmlns:a16="http://schemas.microsoft.com/office/drawing/2014/main" id="{00073A6A-3338-4E34-91F8-D6FEBEC8EA82}"/>
              </a:ext>
            </a:extLst>
          </p:cNvPr>
          <p:cNvSpPr>
            <a:spLocks noGrp="1"/>
          </p:cNvSpPr>
          <p:nvPr>
            <p:ph type="ftr" sz="quarter" idx="3"/>
          </p:nvPr>
        </p:nvSpPr>
        <p:spPr>
          <a:xfrm>
            <a:off x="4038600" y="6176963"/>
            <a:ext cx="4114800" cy="246570"/>
          </a:xfrm>
          <a:prstGeom prst="rect">
            <a:avLst/>
          </a:prstGeom>
        </p:spPr>
        <p:txBody>
          <a:bodyPr vert="horz" lIns="91440" tIns="45720" rIns="91440" bIns="45720" rtlCol="0" anchor="b"/>
          <a:lstStyle>
            <a:lvl1pPr algn="ctr">
              <a:defRPr sz="900" spc="0">
                <a:solidFill>
                  <a:schemeClr val="tx1">
                    <a:tint val="75000"/>
                  </a:schemeClr>
                </a:solidFill>
                <a:latin typeface="Helvetica" charset="0"/>
                <a:ea typeface="Helvetica" charset="0"/>
                <a:cs typeface="Helvetica" charset="0"/>
              </a:defRPr>
            </a:lvl1pPr>
          </a:lstStyle>
          <a:p>
            <a:r>
              <a:rPr lang="en-US" dirty="0"/>
              <a:t>Copyright Information</a:t>
            </a:r>
          </a:p>
        </p:txBody>
      </p:sp>
      <p:sp>
        <p:nvSpPr>
          <p:cNvPr id="15" name="Slide Number Placeholder 5">
            <a:extLst>
              <a:ext uri="{FF2B5EF4-FFF2-40B4-BE49-F238E27FC236}">
                <a16:creationId xmlns:a16="http://schemas.microsoft.com/office/drawing/2014/main" id="{C63A09C1-8421-4416-8309-94200A6DA4A2}"/>
              </a:ext>
            </a:extLst>
          </p:cNvPr>
          <p:cNvSpPr>
            <a:spLocks noGrp="1"/>
          </p:cNvSpPr>
          <p:nvPr>
            <p:ph type="sldNum" sz="quarter" idx="4"/>
          </p:nvPr>
        </p:nvSpPr>
        <p:spPr>
          <a:xfrm>
            <a:off x="838200" y="6176963"/>
            <a:ext cx="500482" cy="246570"/>
          </a:xfrm>
          <a:prstGeom prst="rect">
            <a:avLst/>
          </a:prstGeom>
        </p:spPr>
        <p:txBody>
          <a:bodyPr vert="horz" lIns="91440" tIns="45720" rIns="91440" bIns="45720" rtlCol="0" anchor="b"/>
          <a:lstStyle>
            <a:lvl1pPr algn="l">
              <a:defRPr sz="900" b="0" i="0">
                <a:solidFill>
                  <a:schemeClr val="tx1">
                    <a:tint val="75000"/>
                  </a:schemeClr>
                </a:solidFill>
                <a:effectLst/>
                <a:latin typeface="Helvetica Light" charset="0"/>
                <a:ea typeface="Helvetica Light" charset="0"/>
                <a:cs typeface="Helvetica Light" charset="0"/>
              </a:defRPr>
            </a:lvl1pPr>
          </a:lstStyle>
          <a:p>
            <a:fld id="{5D7764B0-5D4F-C64A-A292-F7BE8AAEF083}"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go Splash">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80584" y="1399396"/>
            <a:ext cx="6712616" cy="4511212"/>
          </a:xfrm>
          <a:prstGeom prst="rect">
            <a:avLst/>
          </a:prstGeom>
        </p:spPr>
      </p:pic>
      <p:sp>
        <p:nvSpPr>
          <p:cNvPr id="2" name="Rectangle 1"/>
          <p:cNvSpPr/>
          <p:nvPr userDrawn="1"/>
        </p:nvSpPr>
        <p:spPr>
          <a:xfrm>
            <a:off x="9720775" y="5097808"/>
            <a:ext cx="2407920" cy="162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ogo Splash 2">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55C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80584" y="1399396"/>
            <a:ext cx="6712616" cy="4511212"/>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No Bottom Li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400" b="0" i="0" baseline="0" dirty="0">
              <a:solidFill>
                <a:srgbClr val="FFFFFF"/>
              </a:solidFill>
              <a:latin typeface="Arial"/>
              <a:ea typeface="+mj-ea"/>
              <a:cs typeface="+mj-cs"/>
              <a:sym typeface="Arial"/>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t="-14288" b="21431"/>
          <a:stretch/>
        </p:blipFill>
        <p:spPr>
          <a:xfrm>
            <a:off x="0" y="5669280"/>
            <a:ext cx="12192000" cy="1188720"/>
          </a:xfrm>
          <a:prstGeom prst="rect">
            <a:avLst/>
          </a:prstGeom>
        </p:spPr>
      </p:pic>
      <p:sp>
        <p:nvSpPr>
          <p:cNvPr id="2" name="Title 1"/>
          <p:cNvSpPr>
            <a:spLocks noGrp="1"/>
          </p:cNvSpPr>
          <p:nvPr>
            <p:ph type="title"/>
          </p:nvPr>
        </p:nvSpPr>
        <p:spPr>
          <a:xfrm>
            <a:off x="838200" y="223364"/>
            <a:ext cx="10515600" cy="760837"/>
          </a:xfrm>
          <a:prstGeom prst="rect">
            <a:avLst/>
          </a:prstGeom>
        </p:spPr>
        <p:txBody>
          <a:bodyPr anchor="b">
            <a:noAutofit/>
          </a:bodyPr>
          <a:lstStyle>
            <a:lvl1pPr>
              <a:defRPr sz="2200"/>
            </a:lvl1pPr>
          </a:lstStyle>
          <a:p>
            <a:r>
              <a:rPr lang="en-US" dirty="0"/>
              <a:t>Click to edit Master title style</a:t>
            </a:r>
          </a:p>
        </p:txBody>
      </p:sp>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80143" y="6356350"/>
            <a:ext cx="1573657" cy="325380"/>
          </a:xfrm>
          <a:prstGeom prst="rect">
            <a:avLst/>
          </a:prstGeom>
        </p:spPr>
      </p:pic>
      <p:sp>
        <p:nvSpPr>
          <p:cNvPr id="15" name="Slide Number Placeholder 5"/>
          <p:cNvSpPr>
            <a:spLocks noGrp="1"/>
          </p:cNvSpPr>
          <p:nvPr>
            <p:ph type="sldNum" sz="quarter" idx="12"/>
          </p:nvPr>
        </p:nvSpPr>
        <p:spPr>
          <a:xfrm>
            <a:off x="838200" y="6356350"/>
            <a:ext cx="257684" cy="365125"/>
          </a:xfrm>
          <a:prstGeom prst="rect">
            <a:avLst/>
          </a:prstGeom>
        </p:spPr>
        <p:txBody>
          <a:bodyPr vert="horz" lIns="0" tIns="0" rIns="0" bIns="0" rtlCol="0" anchor="ctr"/>
          <a:lstStyle>
            <a:lvl1pPr algn="l">
              <a:defRPr lang="en-US" sz="1200" smtClean="0"/>
            </a:lvl1pPr>
          </a:lstStyle>
          <a:p>
            <a:pPr>
              <a:spcAft>
                <a:spcPts val="600"/>
              </a:spcAft>
            </a:pPr>
            <a:fld id="{92F9765A-2C87-D842-A4BE-73FAA123C04B}" type="slidenum">
              <a:rPr lang="en-US" smtClean="0"/>
              <a:pPr>
                <a:spcAft>
                  <a:spcPts val="600"/>
                </a:spcAft>
              </a:pPr>
              <a:t>‹#›</a:t>
            </a:fld>
            <a:endParaRPr lang="en-US" dirty="0"/>
          </a:p>
        </p:txBody>
      </p:sp>
      <p:sp>
        <p:nvSpPr>
          <p:cNvPr id="5" name="TextBox 4"/>
          <p:cNvSpPr txBox="1">
            <a:spLocks/>
          </p:cNvSpPr>
          <p:nvPr userDrawn="1"/>
        </p:nvSpPr>
        <p:spPr>
          <a:xfrm>
            <a:off x="1220175" y="6356350"/>
            <a:ext cx="2112264" cy="365125"/>
          </a:xfrm>
          <a:prstGeom prst="rect">
            <a:avLst/>
          </a:prstGeom>
          <a:noFill/>
        </p:spPr>
        <p:txBody>
          <a:bodyPr wrap="square" lIns="0" tIns="0" rIns="0" bIns="0" rtlCol="0" anchor="ctr">
            <a:noAutofit/>
          </a:bodyPr>
          <a:lstStyle/>
          <a:p>
            <a:pPr algn="l"/>
            <a:r>
              <a:rPr lang="en-US" sz="1200" dirty="0">
                <a:solidFill>
                  <a:schemeClr val="tx1"/>
                </a:solidFill>
              </a:rPr>
              <a:t>| </a:t>
            </a:r>
            <a:r>
              <a:rPr lang="en-US" sz="1200" b="1" dirty="0">
                <a:solidFill>
                  <a:schemeClr val="tx1"/>
                </a:solidFill>
              </a:rPr>
              <a:t>Driven by </a:t>
            </a:r>
            <a:r>
              <a:rPr lang="en-US" sz="1200" b="1" dirty="0">
                <a:solidFill>
                  <a:schemeClr val="bg2"/>
                </a:solidFill>
              </a:rPr>
              <a:t>Our Promise</a:t>
            </a:r>
            <a:r>
              <a:rPr lang="en-US" sz="1200" b="1" baseline="30000" dirty="0">
                <a:solidFill>
                  <a:schemeClr val="bg2"/>
                </a:solidFill>
              </a:rPr>
              <a:t>™</a:t>
            </a:r>
            <a:endParaRPr lang="en-US" sz="1200" b="1" dirty="0">
              <a:solidFill>
                <a:schemeClr val="bg2"/>
              </a:solidFill>
            </a:endParaRPr>
          </a:p>
        </p:txBody>
      </p:sp>
      <p:sp>
        <p:nvSpPr>
          <p:cNvPr id="12" name="Text Placeholder 4"/>
          <p:cNvSpPr>
            <a:spLocks noGrp="1"/>
          </p:cNvSpPr>
          <p:nvPr>
            <p:ph type="body" sz="quarter" idx="15"/>
          </p:nvPr>
        </p:nvSpPr>
        <p:spPr>
          <a:xfrm>
            <a:off x="3324224" y="6356350"/>
            <a:ext cx="6276975" cy="365125"/>
          </a:xfrm>
          <a:prstGeom prst="rect">
            <a:avLst/>
          </a:prstGeom>
          <a:noFill/>
          <a:ln w="9525" algn="ctr">
            <a:noFill/>
            <a:miter lim="800000"/>
            <a:headEnd/>
            <a:tailEnd/>
          </a:ln>
        </p:spPr>
        <p:txBody>
          <a:bodyPr lIns="0" tIns="18288" rIns="0" bIns="18288" anchor="b">
            <a:noAutofit/>
          </a:bodyPr>
          <a:lstStyle/>
          <a:p>
            <a:pPr marL="0" indent="0">
              <a:lnSpc>
                <a:spcPct val="100000"/>
              </a:lnSpc>
              <a:spcBef>
                <a:spcPts val="0"/>
              </a:spcBef>
              <a:spcAft>
                <a:spcPts val="0"/>
              </a:spcAft>
            </a:pPr>
            <a:endParaRPr lang="en-US" dirty="0"/>
          </a:p>
        </p:txBody>
      </p:sp>
    </p:spTree>
    <p:extLst>
      <p:ext uri="{BB962C8B-B14F-4D97-AF65-F5344CB8AC3E}">
        <p14:creationId xmlns:p14="http://schemas.microsoft.com/office/powerpoint/2010/main" val="29455821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EC66CAD-8891-4747-9450-5EFF7359FFB4}"/>
              </a:ext>
            </a:extLst>
          </p:cNvPr>
          <p:cNvPicPr>
            <a:picLocks noChangeAspect="1"/>
          </p:cNvPicPr>
          <p:nvPr userDrawn="1"/>
        </p:nvPicPr>
        <p:blipFill rotWithShape="1">
          <a:blip r:embed="rId2"/>
          <a:srcRect l="4500" t="11204"/>
          <a:stretch/>
        </p:blipFill>
        <p:spPr>
          <a:xfrm>
            <a:off x="-1" y="-1"/>
            <a:ext cx="9834369" cy="6858001"/>
          </a:xfrm>
          <a:prstGeom prst="rect">
            <a:avLst/>
          </a:prstGeom>
        </p:spPr>
      </p:pic>
      <p:sp>
        <p:nvSpPr>
          <p:cNvPr id="7" name="Rectangle 6">
            <a:extLst>
              <a:ext uri="{FF2B5EF4-FFF2-40B4-BE49-F238E27FC236}">
                <a16:creationId xmlns:a16="http://schemas.microsoft.com/office/drawing/2014/main" id="{40FD39E4-5AFB-4ACB-BB3B-B41474B85BED}"/>
              </a:ext>
            </a:extLst>
          </p:cNvPr>
          <p:cNvSpPr/>
          <p:nvPr userDrawn="1"/>
        </p:nvSpPr>
        <p:spPr>
          <a:xfrm>
            <a:off x="0" y="2915584"/>
            <a:ext cx="6995160" cy="2729357"/>
          </a:xfrm>
          <a:prstGeom prst="rect">
            <a:avLst/>
          </a:prstGeom>
          <a:solidFill>
            <a:srgbClr val="9B9D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F7A11AFC-FF43-4147-9CEF-876CE089E99D}"/>
              </a:ext>
            </a:extLst>
          </p:cNvPr>
          <p:cNvSpPr/>
          <p:nvPr userDrawn="1"/>
        </p:nvSpPr>
        <p:spPr>
          <a:xfrm>
            <a:off x="658367" y="3539514"/>
            <a:ext cx="7500335" cy="2898648"/>
          </a:xfrm>
          <a:prstGeom prst="rect">
            <a:avLst/>
          </a:prstGeom>
          <a:solidFill>
            <a:srgbClr val="55C3B9">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307FF19C-FD04-40FF-865E-2ECBAF8A9836}"/>
              </a:ext>
            </a:extLst>
          </p:cNvPr>
          <p:cNvSpPr/>
          <p:nvPr userDrawn="1"/>
        </p:nvSpPr>
        <p:spPr>
          <a:xfrm>
            <a:off x="8158704" y="-1"/>
            <a:ext cx="4033295" cy="6879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15D5ECFC-867B-4965-9F0C-6A35AD59DF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12770" y="2270882"/>
            <a:ext cx="3449716" cy="2316236"/>
          </a:xfrm>
          <a:prstGeom prst="rect">
            <a:avLst/>
          </a:prstGeom>
        </p:spPr>
      </p:pic>
      <p:sp>
        <p:nvSpPr>
          <p:cNvPr id="11" name="Title 1">
            <a:extLst>
              <a:ext uri="{FF2B5EF4-FFF2-40B4-BE49-F238E27FC236}">
                <a16:creationId xmlns:a16="http://schemas.microsoft.com/office/drawing/2014/main" id="{679FF196-296E-4BDE-8D2F-A0766354179A}"/>
              </a:ext>
            </a:extLst>
          </p:cNvPr>
          <p:cNvSpPr>
            <a:spLocks noGrp="1"/>
          </p:cNvSpPr>
          <p:nvPr>
            <p:ph type="title" hasCustomPrompt="1"/>
          </p:nvPr>
        </p:nvSpPr>
        <p:spPr>
          <a:xfrm>
            <a:off x="1163544" y="4041649"/>
            <a:ext cx="5817108" cy="1603292"/>
          </a:xfrm>
        </p:spPr>
        <p:txBody>
          <a:bodyPr anchor="t">
            <a:normAutofit/>
          </a:bodyPr>
          <a:lstStyle>
            <a:lvl1pPr>
              <a:defRPr sz="3200" b="0" baseline="0">
                <a:solidFill>
                  <a:schemeClr val="bg1"/>
                </a:solidFill>
                <a:latin typeface="Arial" charset="0"/>
                <a:ea typeface="Arial" charset="0"/>
                <a:cs typeface="Arial" charset="0"/>
              </a:defRPr>
            </a:lvl1pPr>
          </a:lstStyle>
          <a:p>
            <a:r>
              <a:rPr lang="en-US" dirty="0"/>
              <a:t>TITLE SLIDE WITH PHOTO OPTION 2</a:t>
            </a:r>
            <a:br>
              <a:rPr lang="en-US" dirty="0"/>
            </a:br>
            <a:br>
              <a:rPr lang="en-US" dirty="0"/>
            </a:br>
            <a:endParaRPr lang="en-US" dirty="0"/>
          </a:p>
        </p:txBody>
      </p:sp>
      <p:sp>
        <p:nvSpPr>
          <p:cNvPr id="12" name="Rectangle 11">
            <a:extLst>
              <a:ext uri="{FF2B5EF4-FFF2-40B4-BE49-F238E27FC236}">
                <a16:creationId xmlns:a16="http://schemas.microsoft.com/office/drawing/2014/main" id="{315F8602-AB4F-4FE9-AB90-91373CB433A9}"/>
              </a:ext>
            </a:extLst>
          </p:cNvPr>
          <p:cNvSpPr/>
          <p:nvPr userDrawn="1"/>
        </p:nvSpPr>
        <p:spPr>
          <a:xfrm>
            <a:off x="1163543" y="5676611"/>
            <a:ext cx="2319528" cy="500351"/>
          </a:xfrm>
          <a:prstGeom prst="rect">
            <a:avLst/>
          </a:prstGeom>
          <a:solidFill>
            <a:srgbClr val="941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pic>
        <p:nvPicPr>
          <p:cNvPr id="13" name="Picture 12">
            <a:extLst>
              <a:ext uri="{FF2B5EF4-FFF2-40B4-BE49-F238E27FC236}">
                <a16:creationId xmlns:a16="http://schemas.microsoft.com/office/drawing/2014/main" id="{94F9213B-1E59-46FC-B494-63916AC8632F}"/>
              </a:ext>
            </a:extLst>
          </p:cNvPr>
          <p:cNvPicPr>
            <a:picLocks noChangeAspect="1"/>
          </p:cNvPicPr>
          <p:nvPr userDrawn="1"/>
        </p:nvPicPr>
        <p:blipFill>
          <a:blip r:embed="rId4"/>
          <a:stretch>
            <a:fillRect/>
          </a:stretch>
        </p:blipFill>
        <p:spPr>
          <a:xfrm>
            <a:off x="1180307" y="3326419"/>
            <a:ext cx="1143000" cy="419100"/>
          </a:xfrm>
          <a:prstGeom prst="rect">
            <a:avLst/>
          </a:prstGeom>
        </p:spPr>
      </p:pic>
      <p:sp>
        <p:nvSpPr>
          <p:cNvPr id="14" name="Text Placeholder 19">
            <a:extLst>
              <a:ext uri="{FF2B5EF4-FFF2-40B4-BE49-F238E27FC236}">
                <a16:creationId xmlns:a16="http://schemas.microsoft.com/office/drawing/2014/main" id="{F7051B67-3758-4E24-9242-969B84102C30}"/>
              </a:ext>
            </a:extLst>
          </p:cNvPr>
          <p:cNvSpPr>
            <a:spLocks noGrp="1"/>
          </p:cNvSpPr>
          <p:nvPr>
            <p:ph type="body" sz="quarter" idx="10" hasCustomPrompt="1"/>
          </p:nvPr>
        </p:nvSpPr>
        <p:spPr>
          <a:xfrm>
            <a:off x="1270000" y="5676610"/>
            <a:ext cx="1808163" cy="500352"/>
          </a:xfrm>
        </p:spPr>
        <p:txBody>
          <a:bodyPr anchor="ctr" anchorCtr="0">
            <a:normAutofit/>
          </a:bodyPr>
          <a:lstStyle>
            <a:lvl1pPr marL="0" indent="0">
              <a:buNone/>
              <a:defRPr sz="1800" b="1" i="0">
                <a:solidFill>
                  <a:schemeClr val="bg1"/>
                </a:solidFill>
                <a:latin typeface="Arial" charset="0"/>
                <a:ea typeface="Arial" charset="0"/>
                <a:cs typeface="Arial" charset="0"/>
              </a:defRPr>
            </a:lvl1pPr>
            <a:lvl5pPr marL="1828800" indent="0" algn="l">
              <a:buNone/>
              <a:defRPr/>
            </a:lvl5pPr>
          </a:lstStyle>
          <a:p>
            <a:pPr lvl="0"/>
            <a:r>
              <a:rPr lang="en-US" dirty="0"/>
              <a:t>Date</a:t>
            </a:r>
          </a:p>
        </p:txBody>
      </p:sp>
    </p:spTree>
    <p:extLst>
      <p:ext uri="{BB962C8B-B14F-4D97-AF65-F5344CB8AC3E}">
        <p14:creationId xmlns:p14="http://schemas.microsoft.com/office/powerpoint/2010/main" val="2282815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2">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9855200" y="4572000"/>
            <a:ext cx="2361224" cy="218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userDrawn="1"/>
        </p:nvSpPr>
        <p:spPr>
          <a:xfrm>
            <a:off x="-14508" y="6020649"/>
            <a:ext cx="3497580" cy="837351"/>
          </a:xfrm>
          <a:prstGeom prst="rect">
            <a:avLst/>
          </a:prstGeom>
          <a:solidFill>
            <a:srgbClr val="9B9D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userDrawn="1"/>
        </p:nvSpPr>
        <p:spPr>
          <a:xfrm>
            <a:off x="-14509" y="6425813"/>
            <a:ext cx="12206509" cy="432187"/>
          </a:xfrm>
          <a:prstGeom prst="rect">
            <a:avLst/>
          </a:prstGeom>
          <a:solidFill>
            <a:srgbClr val="55C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1496" y="685584"/>
            <a:ext cx="2361224" cy="1585392"/>
          </a:xfrm>
          <a:prstGeom prst="rect">
            <a:avLst/>
          </a:prstGeom>
        </p:spPr>
      </p:pic>
      <p:sp>
        <p:nvSpPr>
          <p:cNvPr id="7" name="Title 1"/>
          <p:cNvSpPr>
            <a:spLocks noGrp="1"/>
          </p:cNvSpPr>
          <p:nvPr>
            <p:ph type="title" hasCustomPrompt="1"/>
          </p:nvPr>
        </p:nvSpPr>
        <p:spPr>
          <a:xfrm>
            <a:off x="1163543" y="2483582"/>
            <a:ext cx="8077952" cy="1035694"/>
          </a:xfrm>
        </p:spPr>
        <p:txBody>
          <a:bodyPr anchor="t">
            <a:normAutofit/>
          </a:bodyPr>
          <a:lstStyle>
            <a:lvl1pPr>
              <a:defRPr sz="4000" b="0" baseline="0">
                <a:solidFill>
                  <a:srgbClr val="94175D"/>
                </a:solidFill>
                <a:latin typeface="Arial" charset="0"/>
                <a:ea typeface="Arial" charset="0"/>
                <a:cs typeface="Arial" charset="0"/>
              </a:defRPr>
            </a:lvl1pPr>
          </a:lstStyle>
          <a:p>
            <a:r>
              <a:rPr lang="en-US" dirty="0"/>
              <a:t>TITLE SLIDE WITHOUT PHOTO</a:t>
            </a:r>
          </a:p>
        </p:txBody>
      </p:sp>
      <p:sp>
        <p:nvSpPr>
          <p:cNvPr id="3" name="Rectangle 2"/>
          <p:cNvSpPr/>
          <p:nvPr userDrawn="1"/>
        </p:nvSpPr>
        <p:spPr>
          <a:xfrm>
            <a:off x="1163543" y="4875176"/>
            <a:ext cx="2319528" cy="500351"/>
          </a:xfrm>
          <a:prstGeom prst="rect">
            <a:avLst/>
          </a:prstGeom>
          <a:solidFill>
            <a:srgbClr val="941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a:blip r:embed="rId3"/>
          <a:stretch>
            <a:fillRect/>
          </a:stretch>
        </p:blipFill>
        <p:spPr>
          <a:xfrm>
            <a:off x="1180307" y="6213207"/>
            <a:ext cx="1143000" cy="419100"/>
          </a:xfrm>
          <a:prstGeom prst="rect">
            <a:avLst/>
          </a:prstGeom>
        </p:spPr>
      </p:pic>
      <p:sp>
        <p:nvSpPr>
          <p:cNvPr id="14" name="Text Placeholder 17"/>
          <p:cNvSpPr>
            <a:spLocks noGrp="1"/>
          </p:cNvSpPr>
          <p:nvPr>
            <p:ph type="body" sz="quarter" idx="10" hasCustomPrompt="1"/>
          </p:nvPr>
        </p:nvSpPr>
        <p:spPr>
          <a:xfrm>
            <a:off x="1180307" y="3744969"/>
            <a:ext cx="6118225" cy="338791"/>
          </a:xfrm>
        </p:spPr>
        <p:txBody>
          <a:bodyPr>
            <a:normAutofit/>
          </a:bodyPr>
          <a:lstStyle>
            <a:lvl1pPr marL="0" indent="0">
              <a:buNone/>
              <a:defRPr sz="2000" b="0" i="0" baseline="0">
                <a:solidFill>
                  <a:srgbClr val="9B9DA0"/>
                </a:solidFill>
                <a:latin typeface="Arial" charset="0"/>
                <a:ea typeface="Arial" charset="0"/>
                <a:cs typeface="Arial" charset="0"/>
              </a:defRPr>
            </a:lvl1pPr>
          </a:lstStyle>
          <a:p>
            <a:pPr lvl="0"/>
            <a:r>
              <a:rPr lang="en-US" dirty="0"/>
              <a:t>Subtitle Here Lorem Ipsum </a:t>
            </a:r>
          </a:p>
        </p:txBody>
      </p:sp>
      <p:sp>
        <p:nvSpPr>
          <p:cNvPr id="19" name="Text Placeholder 19"/>
          <p:cNvSpPr>
            <a:spLocks noGrp="1"/>
          </p:cNvSpPr>
          <p:nvPr>
            <p:ph type="body" sz="quarter" idx="11" hasCustomPrompt="1"/>
          </p:nvPr>
        </p:nvSpPr>
        <p:spPr>
          <a:xfrm>
            <a:off x="1270000" y="4875175"/>
            <a:ext cx="1808163" cy="500352"/>
          </a:xfrm>
        </p:spPr>
        <p:txBody>
          <a:bodyPr anchor="ctr" anchorCtr="0">
            <a:normAutofit/>
          </a:bodyPr>
          <a:lstStyle>
            <a:lvl1pPr marL="0" indent="0">
              <a:buNone/>
              <a:defRPr sz="1800" b="1" i="0">
                <a:solidFill>
                  <a:schemeClr val="bg1"/>
                </a:solidFill>
                <a:latin typeface="Arial" charset="0"/>
                <a:ea typeface="Arial" charset="0"/>
                <a:cs typeface="Arial" charset="0"/>
              </a:defRPr>
            </a:lvl1pPr>
            <a:lvl5pPr marL="1828800" indent="0" algn="l">
              <a:buNone/>
              <a:defRPr/>
            </a:lvl5pPr>
          </a:lstStyle>
          <a:p>
            <a:pPr lvl="0"/>
            <a:r>
              <a:rPr lang="en-US" dirty="0"/>
              <a:t>Dat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4060652"/>
            <a:ext cx="6124905" cy="940735"/>
          </a:xfrm>
        </p:spPr>
        <p:txBody>
          <a:bodyPr anchor="t"/>
          <a:lstStyle>
            <a:lvl1pPr>
              <a:defRPr sz="6000" b="0" i="0">
                <a:solidFill>
                  <a:srgbClr val="94175D"/>
                </a:solidFill>
                <a:latin typeface="Arial" charset="0"/>
                <a:ea typeface="Arial" charset="0"/>
                <a:cs typeface="Arial" charset="0"/>
              </a:defRPr>
            </a:lvl1pPr>
          </a:lstStyle>
          <a:p>
            <a:r>
              <a:rPr lang="en-US" dirty="0"/>
              <a:t>Section Title</a:t>
            </a:r>
          </a:p>
        </p:txBody>
      </p:sp>
      <p:sp>
        <p:nvSpPr>
          <p:cNvPr id="3" name="Text Placeholder 2"/>
          <p:cNvSpPr>
            <a:spLocks noGrp="1"/>
          </p:cNvSpPr>
          <p:nvPr>
            <p:ph type="body" idx="1" hasCustomPrompt="1"/>
          </p:nvPr>
        </p:nvSpPr>
        <p:spPr>
          <a:xfrm>
            <a:off x="831850" y="5028375"/>
            <a:ext cx="6124905" cy="485457"/>
          </a:xfrm>
        </p:spPr>
        <p:txBody>
          <a:bodyPr/>
          <a:lstStyle>
            <a:lvl1pPr marL="0" indent="0">
              <a:buNone/>
              <a:defRPr sz="2400" b="0" i="0">
                <a:solidFill>
                  <a:srgbClr val="243F46"/>
                </a:solidFill>
                <a:latin typeface="Arial" charset="0"/>
                <a:ea typeface="Arial" charset="0"/>
                <a:cs typeface="Arial"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Subtitle He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4664" y="463552"/>
            <a:ext cx="2856303" cy="1919578"/>
          </a:xfrm>
          <a:prstGeom prst="rect">
            <a:avLst/>
          </a:prstGeom>
        </p:spPr>
      </p:pic>
      <p:sp>
        <p:nvSpPr>
          <p:cNvPr id="9" name="Date Placeholder 3"/>
          <p:cNvSpPr>
            <a:spLocks noGrp="1"/>
          </p:cNvSpPr>
          <p:nvPr>
            <p:ph type="dt" sz="half" idx="2"/>
          </p:nvPr>
        </p:nvSpPr>
        <p:spPr>
          <a:xfrm>
            <a:off x="1338682" y="6176963"/>
            <a:ext cx="2242718" cy="246570"/>
          </a:xfrm>
          <a:prstGeom prst="rect">
            <a:avLst/>
          </a:prstGeom>
        </p:spPr>
        <p:txBody>
          <a:bodyPr vert="horz" lIns="91440" tIns="45720" rIns="91440" bIns="45720" rtlCol="0" anchor="b"/>
          <a:lstStyle>
            <a:lvl1pPr algn="l">
              <a:defRPr sz="900">
                <a:solidFill>
                  <a:schemeClr val="tx1">
                    <a:tint val="75000"/>
                  </a:schemeClr>
                </a:solidFill>
                <a:latin typeface="Helvetica" charset="0"/>
                <a:ea typeface="Helvetica" charset="0"/>
                <a:cs typeface="Helvetica" charset="0"/>
              </a:defRPr>
            </a:lvl1pPr>
          </a:lstStyle>
          <a:p>
            <a:fld id="{89526774-0620-4621-ABC6-77EDFC173CFD}" type="datetime1">
              <a:rPr lang="en-US" smtClean="0"/>
              <a:t>11/7/2019</a:t>
            </a:fld>
            <a:endParaRPr lang="en-US" dirty="0"/>
          </a:p>
        </p:txBody>
      </p:sp>
      <p:sp>
        <p:nvSpPr>
          <p:cNvPr id="10" name="Footer Placeholder 4"/>
          <p:cNvSpPr>
            <a:spLocks noGrp="1"/>
          </p:cNvSpPr>
          <p:nvPr>
            <p:ph type="ftr" sz="quarter" idx="3"/>
          </p:nvPr>
        </p:nvSpPr>
        <p:spPr>
          <a:xfrm>
            <a:off x="4038600" y="6176963"/>
            <a:ext cx="4114800" cy="246570"/>
          </a:xfrm>
          <a:prstGeom prst="rect">
            <a:avLst/>
          </a:prstGeom>
        </p:spPr>
        <p:txBody>
          <a:bodyPr vert="horz" lIns="91440" tIns="45720" rIns="91440" bIns="45720" rtlCol="0" anchor="b"/>
          <a:lstStyle>
            <a:lvl1pPr algn="ctr">
              <a:defRPr sz="900" spc="0">
                <a:solidFill>
                  <a:schemeClr val="tx1">
                    <a:tint val="75000"/>
                  </a:schemeClr>
                </a:solidFill>
                <a:latin typeface="Helvetica" charset="0"/>
                <a:ea typeface="Helvetica" charset="0"/>
                <a:cs typeface="Helvetica" charset="0"/>
              </a:defRPr>
            </a:lvl1pPr>
          </a:lstStyle>
          <a:p>
            <a:r>
              <a:rPr lang="en-US" dirty="0"/>
              <a:t>Copyright Information</a:t>
            </a:r>
          </a:p>
        </p:txBody>
      </p:sp>
      <p:sp>
        <p:nvSpPr>
          <p:cNvPr id="11" name="Slide Number Placeholder 5"/>
          <p:cNvSpPr>
            <a:spLocks noGrp="1"/>
          </p:cNvSpPr>
          <p:nvPr>
            <p:ph type="sldNum" sz="quarter" idx="4"/>
          </p:nvPr>
        </p:nvSpPr>
        <p:spPr>
          <a:xfrm>
            <a:off x="838200" y="6176963"/>
            <a:ext cx="500482" cy="246570"/>
          </a:xfrm>
          <a:prstGeom prst="rect">
            <a:avLst/>
          </a:prstGeom>
        </p:spPr>
        <p:txBody>
          <a:bodyPr vert="horz" lIns="91440" tIns="45720" rIns="91440" bIns="45720" rtlCol="0" anchor="b"/>
          <a:lstStyle>
            <a:lvl1pPr algn="l">
              <a:defRPr sz="900" b="0" i="0">
                <a:solidFill>
                  <a:schemeClr val="tx1">
                    <a:tint val="75000"/>
                  </a:schemeClr>
                </a:solidFill>
                <a:effectLst/>
                <a:latin typeface="Helvetica Light" charset="0"/>
                <a:ea typeface="Helvetica Light" charset="0"/>
                <a:cs typeface="Helvetica Light" charset="0"/>
              </a:defRPr>
            </a:lvl1pPr>
          </a:lstStyle>
          <a:p>
            <a:fld id="{5D7764B0-5D4F-C64A-A292-F7BE8AAEF083}" type="slidenum">
              <a:rPr lang="en-US" smtClean="0"/>
              <a:pPr/>
              <a:t>‹#›</a:t>
            </a:fld>
            <a:endParaRPr lang="en-US" dirty="0"/>
          </a:p>
        </p:txBody>
      </p:sp>
      <p:sp>
        <p:nvSpPr>
          <p:cNvPr id="4" name="Rectangle 3"/>
          <p:cNvSpPr/>
          <p:nvPr userDrawn="1"/>
        </p:nvSpPr>
        <p:spPr>
          <a:xfrm>
            <a:off x="9489440" y="5280533"/>
            <a:ext cx="2479040" cy="1364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t>
            </a:r>
          </a:p>
        </p:txBody>
      </p:sp>
      <p:sp>
        <p:nvSpPr>
          <p:cNvPr id="14" name="Rectangle 13"/>
          <p:cNvSpPr/>
          <p:nvPr userDrawn="1"/>
        </p:nvSpPr>
        <p:spPr>
          <a:xfrm>
            <a:off x="10761087" y="0"/>
            <a:ext cx="1430913" cy="6858000"/>
          </a:xfrm>
          <a:prstGeom prst="rect">
            <a:avLst/>
          </a:prstGeom>
          <a:solidFill>
            <a:srgbClr val="55C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15" name="Rectangle 14"/>
          <p:cNvSpPr/>
          <p:nvPr userDrawn="1"/>
        </p:nvSpPr>
        <p:spPr>
          <a:xfrm>
            <a:off x="10380430" y="4060652"/>
            <a:ext cx="761314" cy="2797348"/>
          </a:xfrm>
          <a:prstGeom prst="rect">
            <a:avLst/>
          </a:prstGeom>
          <a:solidFill>
            <a:srgbClr val="9B9DA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a:blip r:embed="rId3"/>
          <a:stretch>
            <a:fillRect/>
          </a:stretch>
        </p:blipFill>
        <p:spPr>
          <a:xfrm rot="5400000">
            <a:off x="10189587" y="5642483"/>
            <a:ext cx="1143000" cy="419100"/>
          </a:xfrm>
          <a:prstGeom prst="rect">
            <a:avLst/>
          </a:prstGeom>
        </p:spPr>
      </p:pic>
    </p:spTree>
    <p:extLst>
      <p:ext uri="{BB962C8B-B14F-4D97-AF65-F5344CB8AC3E}">
        <p14:creationId xmlns:p14="http://schemas.microsoft.com/office/powerpoint/2010/main" val="7514536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1">
    <p:spTree>
      <p:nvGrpSpPr>
        <p:cNvPr id="1" name=""/>
        <p:cNvGrpSpPr/>
        <p:nvPr/>
      </p:nvGrpSpPr>
      <p:grpSpPr>
        <a:xfrm>
          <a:off x="0" y="0"/>
          <a:ext cx="0" cy="0"/>
          <a:chOff x="0" y="0"/>
          <a:chExt cx="0" cy="0"/>
        </a:xfrm>
      </p:grpSpPr>
      <p:sp>
        <p:nvSpPr>
          <p:cNvPr id="7" name="Rectangle 6"/>
          <p:cNvSpPr/>
          <p:nvPr userDrawn="1"/>
        </p:nvSpPr>
        <p:spPr>
          <a:xfrm>
            <a:off x="0" y="0"/>
            <a:ext cx="12192000" cy="1105764"/>
          </a:xfrm>
          <a:prstGeom prst="rect">
            <a:avLst/>
          </a:prstGeom>
          <a:solidFill>
            <a:srgbClr val="55C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838200" y="-4153"/>
            <a:ext cx="10515600" cy="1109918"/>
          </a:xfrm>
        </p:spPr>
        <p:txBody>
          <a:bodyPr>
            <a:normAutofit/>
          </a:bodyPr>
          <a:lstStyle>
            <a:lvl1pPr>
              <a:defRPr sz="3000" b="1" i="0">
                <a:solidFill>
                  <a:schemeClr val="bg1"/>
                </a:solidFill>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a:xfrm>
            <a:off x="838200" y="1253330"/>
            <a:ext cx="10515600" cy="4923631"/>
          </a:xfrm>
        </p:spPr>
        <p:txBody>
          <a:bodyPr/>
          <a:lstStyle>
            <a:lvl1pPr>
              <a:defRPr sz="3000" b="0" i="0">
                <a:solidFill>
                  <a:schemeClr val="tx1"/>
                </a:solidFill>
                <a:latin typeface="Arial" charset="0"/>
                <a:ea typeface="Arial" charset="0"/>
                <a:cs typeface="Arial" charset="0"/>
              </a:defRPr>
            </a:lvl1pPr>
            <a:lvl2pPr>
              <a:defRPr b="0" i="0">
                <a:solidFill>
                  <a:schemeClr val="tx1"/>
                </a:solidFill>
                <a:latin typeface="Arial" charset="0"/>
                <a:ea typeface="Arial" charset="0"/>
                <a:cs typeface="Arial" charset="0"/>
              </a:defRPr>
            </a:lvl2pPr>
            <a:lvl3pPr>
              <a:defRPr b="0" i="0">
                <a:solidFill>
                  <a:schemeClr val="tx1"/>
                </a:solidFill>
                <a:latin typeface="Arial" charset="0"/>
                <a:ea typeface="Arial" charset="0"/>
                <a:cs typeface="Arial" charset="0"/>
              </a:defRPr>
            </a:lvl3pPr>
            <a:lvl4pPr>
              <a:defRPr>
                <a:solidFill>
                  <a:srgbClr val="243F46"/>
                </a:solidFill>
              </a:defRPr>
            </a:lvl4pPr>
            <a:lvl5pPr>
              <a:defRPr>
                <a:solidFill>
                  <a:srgbClr val="243F46"/>
                </a:solidFill>
              </a:defRPr>
            </a:lvl5pPr>
          </a:lstStyle>
          <a:p>
            <a:pPr lvl="0"/>
            <a:r>
              <a:rPr lang="en-US" dirty="0"/>
              <a:t>Click to edit Master text styles</a:t>
            </a:r>
          </a:p>
          <a:p>
            <a:pPr lvl="1"/>
            <a:r>
              <a:rPr lang="en-US" dirty="0"/>
              <a:t>Second level</a:t>
            </a:r>
          </a:p>
          <a:p>
            <a:pPr lvl="2"/>
            <a:r>
              <a:rPr lang="en-US" dirty="0"/>
              <a:t>Third level</a:t>
            </a:r>
          </a:p>
        </p:txBody>
      </p:sp>
      <p:sp>
        <p:nvSpPr>
          <p:cNvPr id="8" name="Date Placeholder 3"/>
          <p:cNvSpPr>
            <a:spLocks noGrp="1"/>
          </p:cNvSpPr>
          <p:nvPr>
            <p:ph type="dt" sz="half" idx="2"/>
          </p:nvPr>
        </p:nvSpPr>
        <p:spPr>
          <a:xfrm>
            <a:off x="1338682" y="6176963"/>
            <a:ext cx="2242718" cy="246570"/>
          </a:xfrm>
          <a:prstGeom prst="rect">
            <a:avLst/>
          </a:prstGeom>
        </p:spPr>
        <p:txBody>
          <a:bodyPr vert="horz" lIns="91440" tIns="45720" rIns="91440" bIns="45720" rtlCol="0" anchor="b"/>
          <a:lstStyle>
            <a:lvl1pPr algn="l">
              <a:defRPr sz="900">
                <a:solidFill>
                  <a:schemeClr val="tx1">
                    <a:tint val="75000"/>
                  </a:schemeClr>
                </a:solidFill>
                <a:latin typeface="Helvetica" charset="0"/>
                <a:ea typeface="Helvetica" charset="0"/>
                <a:cs typeface="Helvetica" charset="0"/>
              </a:defRPr>
            </a:lvl1pPr>
          </a:lstStyle>
          <a:p>
            <a:fld id="{29B7AB7C-85F3-4CEF-B762-317FE8405F9C}" type="datetime1">
              <a:rPr lang="en-US" smtClean="0"/>
              <a:t>11/7/2019</a:t>
            </a:fld>
            <a:endParaRPr lang="en-US" dirty="0"/>
          </a:p>
        </p:txBody>
      </p:sp>
      <p:sp>
        <p:nvSpPr>
          <p:cNvPr id="9" name="Footer Placeholder 4"/>
          <p:cNvSpPr>
            <a:spLocks noGrp="1"/>
          </p:cNvSpPr>
          <p:nvPr>
            <p:ph type="ftr" sz="quarter" idx="3"/>
          </p:nvPr>
        </p:nvSpPr>
        <p:spPr>
          <a:xfrm>
            <a:off x="4038600" y="6176963"/>
            <a:ext cx="4114800" cy="246570"/>
          </a:xfrm>
          <a:prstGeom prst="rect">
            <a:avLst/>
          </a:prstGeom>
        </p:spPr>
        <p:txBody>
          <a:bodyPr vert="horz" lIns="91440" tIns="45720" rIns="91440" bIns="45720" rtlCol="0" anchor="b"/>
          <a:lstStyle>
            <a:lvl1pPr algn="ctr">
              <a:defRPr sz="900" spc="0">
                <a:solidFill>
                  <a:schemeClr val="tx1">
                    <a:tint val="75000"/>
                  </a:schemeClr>
                </a:solidFill>
                <a:latin typeface="Helvetica" charset="0"/>
                <a:ea typeface="Helvetica" charset="0"/>
                <a:cs typeface="Helvetica" charset="0"/>
              </a:defRPr>
            </a:lvl1pPr>
          </a:lstStyle>
          <a:p>
            <a:r>
              <a:rPr lang="en-US" dirty="0"/>
              <a:t>Copyright Information</a:t>
            </a:r>
          </a:p>
        </p:txBody>
      </p:sp>
      <p:sp>
        <p:nvSpPr>
          <p:cNvPr id="10" name="Slide Number Placeholder 5"/>
          <p:cNvSpPr>
            <a:spLocks noGrp="1"/>
          </p:cNvSpPr>
          <p:nvPr>
            <p:ph type="sldNum" sz="quarter" idx="4"/>
          </p:nvPr>
        </p:nvSpPr>
        <p:spPr>
          <a:xfrm>
            <a:off x="838200" y="6176963"/>
            <a:ext cx="500482" cy="246570"/>
          </a:xfrm>
          <a:prstGeom prst="rect">
            <a:avLst/>
          </a:prstGeom>
        </p:spPr>
        <p:txBody>
          <a:bodyPr vert="horz" lIns="91440" tIns="45720" rIns="91440" bIns="45720" rtlCol="0" anchor="b"/>
          <a:lstStyle>
            <a:lvl1pPr algn="l">
              <a:defRPr sz="900" b="0" i="0">
                <a:solidFill>
                  <a:schemeClr val="tx1">
                    <a:tint val="75000"/>
                  </a:schemeClr>
                </a:solidFill>
                <a:effectLst/>
                <a:latin typeface="Helvetica Light" charset="0"/>
                <a:ea typeface="Helvetica Light" charset="0"/>
                <a:cs typeface="Helvetica Light" charset="0"/>
              </a:defRPr>
            </a:lvl1pPr>
          </a:lstStyle>
          <a:p>
            <a:fld id="{5D7764B0-5D4F-C64A-A292-F7BE8AAEF083}" type="slidenum">
              <a:rPr lang="en-US" smtClean="0"/>
              <a:pPr/>
              <a:t>‹#›</a:t>
            </a:fld>
            <a:endParaRPr lang="en-US" dirty="0"/>
          </a:p>
        </p:txBody>
      </p:sp>
    </p:spTree>
    <p:extLst>
      <p:ext uri="{BB962C8B-B14F-4D97-AF65-F5344CB8AC3E}">
        <p14:creationId xmlns:p14="http://schemas.microsoft.com/office/powerpoint/2010/main" val="6726426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2">
    <p:spTree>
      <p:nvGrpSpPr>
        <p:cNvPr id="1" name=""/>
        <p:cNvGrpSpPr/>
        <p:nvPr/>
      </p:nvGrpSpPr>
      <p:grpSpPr>
        <a:xfrm>
          <a:off x="0" y="0"/>
          <a:ext cx="0" cy="0"/>
          <a:chOff x="0" y="0"/>
          <a:chExt cx="0" cy="0"/>
        </a:xfrm>
      </p:grpSpPr>
      <p:sp>
        <p:nvSpPr>
          <p:cNvPr id="7" name="Rectangle 6"/>
          <p:cNvSpPr/>
          <p:nvPr userDrawn="1"/>
        </p:nvSpPr>
        <p:spPr>
          <a:xfrm>
            <a:off x="0" y="-4155"/>
            <a:ext cx="12192000" cy="1109919"/>
          </a:xfrm>
          <a:prstGeom prst="rect">
            <a:avLst/>
          </a:prstGeom>
          <a:solidFill>
            <a:srgbClr val="941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94175D"/>
              </a:solidFill>
            </a:endParaRPr>
          </a:p>
        </p:txBody>
      </p:sp>
      <p:sp>
        <p:nvSpPr>
          <p:cNvPr id="2" name="Title 1"/>
          <p:cNvSpPr>
            <a:spLocks noGrp="1"/>
          </p:cNvSpPr>
          <p:nvPr>
            <p:ph type="title"/>
          </p:nvPr>
        </p:nvSpPr>
        <p:spPr>
          <a:xfrm>
            <a:off x="838200" y="-4155"/>
            <a:ext cx="10515600" cy="1109919"/>
          </a:xfrm>
        </p:spPr>
        <p:txBody>
          <a:bodyPr>
            <a:normAutofit/>
          </a:bodyPr>
          <a:lstStyle>
            <a:lvl1pPr>
              <a:defRPr sz="3000" b="1" i="0">
                <a:solidFill>
                  <a:schemeClr val="bg1"/>
                </a:solidFill>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a:xfrm>
            <a:off x="838200" y="1253331"/>
            <a:ext cx="10515600" cy="4923632"/>
          </a:xfrm>
        </p:spPr>
        <p:txBody>
          <a:bodyPr/>
          <a:lstStyle>
            <a:lvl1pPr>
              <a:defRPr sz="3000" b="0" i="0">
                <a:solidFill>
                  <a:schemeClr val="tx1"/>
                </a:solidFill>
                <a:latin typeface="Arial" charset="0"/>
                <a:ea typeface="Arial" charset="0"/>
                <a:cs typeface="Arial" charset="0"/>
              </a:defRPr>
            </a:lvl1pPr>
            <a:lvl2pPr>
              <a:defRPr b="0" i="0">
                <a:solidFill>
                  <a:schemeClr val="tx1"/>
                </a:solidFill>
                <a:latin typeface="Arial" charset="0"/>
                <a:ea typeface="Arial" charset="0"/>
                <a:cs typeface="Arial" charset="0"/>
              </a:defRPr>
            </a:lvl2pPr>
            <a:lvl3pPr>
              <a:defRPr b="0" i="0">
                <a:solidFill>
                  <a:schemeClr val="tx1"/>
                </a:solidFill>
                <a:latin typeface="Arial" charset="0"/>
                <a:ea typeface="Arial" charset="0"/>
                <a:cs typeface="Arial" charset="0"/>
              </a:defRPr>
            </a:lvl3pPr>
            <a:lvl4pPr>
              <a:defRPr>
                <a:solidFill>
                  <a:srgbClr val="243F46"/>
                </a:solidFill>
              </a:defRPr>
            </a:lvl4pPr>
            <a:lvl5pPr>
              <a:defRPr>
                <a:solidFill>
                  <a:srgbClr val="243F46"/>
                </a:solidFill>
              </a:defRPr>
            </a:lvl5pPr>
          </a:lstStyle>
          <a:p>
            <a:pPr lvl="0"/>
            <a:r>
              <a:rPr lang="en-US" dirty="0"/>
              <a:t>Click to edit Master text styles</a:t>
            </a:r>
          </a:p>
          <a:p>
            <a:pPr lvl="1"/>
            <a:r>
              <a:rPr lang="en-US" dirty="0"/>
              <a:t>Second level</a:t>
            </a:r>
          </a:p>
          <a:p>
            <a:pPr lvl="2"/>
            <a:r>
              <a:rPr lang="en-US" dirty="0"/>
              <a:t>Third level</a:t>
            </a:r>
          </a:p>
        </p:txBody>
      </p:sp>
      <p:sp>
        <p:nvSpPr>
          <p:cNvPr id="8" name="Date Placeholder 3"/>
          <p:cNvSpPr>
            <a:spLocks noGrp="1"/>
          </p:cNvSpPr>
          <p:nvPr>
            <p:ph type="dt" sz="half" idx="2"/>
          </p:nvPr>
        </p:nvSpPr>
        <p:spPr>
          <a:xfrm>
            <a:off x="1338682" y="6176963"/>
            <a:ext cx="2242718" cy="246570"/>
          </a:xfrm>
          <a:prstGeom prst="rect">
            <a:avLst/>
          </a:prstGeom>
        </p:spPr>
        <p:txBody>
          <a:bodyPr vert="horz" lIns="91440" tIns="45720" rIns="91440" bIns="45720" rtlCol="0" anchor="b"/>
          <a:lstStyle>
            <a:lvl1pPr algn="l">
              <a:defRPr sz="900">
                <a:solidFill>
                  <a:schemeClr val="tx1">
                    <a:tint val="75000"/>
                  </a:schemeClr>
                </a:solidFill>
                <a:latin typeface="Helvetica" charset="0"/>
                <a:ea typeface="Helvetica" charset="0"/>
                <a:cs typeface="Helvetica" charset="0"/>
              </a:defRPr>
            </a:lvl1pPr>
          </a:lstStyle>
          <a:p>
            <a:fld id="{47B8EBDB-F0FE-405A-A7F9-3734EA1BBAB6}" type="datetime1">
              <a:rPr lang="en-US" smtClean="0"/>
              <a:t>11/7/2019</a:t>
            </a:fld>
            <a:endParaRPr lang="en-US" dirty="0"/>
          </a:p>
        </p:txBody>
      </p:sp>
      <p:sp>
        <p:nvSpPr>
          <p:cNvPr id="9" name="Footer Placeholder 4"/>
          <p:cNvSpPr>
            <a:spLocks noGrp="1"/>
          </p:cNvSpPr>
          <p:nvPr>
            <p:ph type="ftr" sz="quarter" idx="3"/>
          </p:nvPr>
        </p:nvSpPr>
        <p:spPr>
          <a:xfrm>
            <a:off x="4038600" y="6176963"/>
            <a:ext cx="4114800" cy="246570"/>
          </a:xfrm>
          <a:prstGeom prst="rect">
            <a:avLst/>
          </a:prstGeom>
        </p:spPr>
        <p:txBody>
          <a:bodyPr vert="horz" lIns="91440" tIns="45720" rIns="91440" bIns="45720" rtlCol="0" anchor="b"/>
          <a:lstStyle>
            <a:lvl1pPr algn="ctr">
              <a:defRPr sz="900" spc="0">
                <a:solidFill>
                  <a:schemeClr val="tx1">
                    <a:tint val="75000"/>
                  </a:schemeClr>
                </a:solidFill>
                <a:latin typeface="Helvetica" charset="0"/>
                <a:ea typeface="Helvetica" charset="0"/>
                <a:cs typeface="Helvetica" charset="0"/>
              </a:defRPr>
            </a:lvl1pPr>
          </a:lstStyle>
          <a:p>
            <a:r>
              <a:rPr lang="en-US" dirty="0"/>
              <a:t>Copyright Information</a:t>
            </a:r>
          </a:p>
        </p:txBody>
      </p:sp>
      <p:sp>
        <p:nvSpPr>
          <p:cNvPr id="10" name="Slide Number Placeholder 5"/>
          <p:cNvSpPr>
            <a:spLocks noGrp="1"/>
          </p:cNvSpPr>
          <p:nvPr>
            <p:ph type="sldNum" sz="quarter" idx="4"/>
          </p:nvPr>
        </p:nvSpPr>
        <p:spPr>
          <a:xfrm>
            <a:off x="838200" y="6176963"/>
            <a:ext cx="500482" cy="246570"/>
          </a:xfrm>
          <a:prstGeom prst="rect">
            <a:avLst/>
          </a:prstGeom>
        </p:spPr>
        <p:txBody>
          <a:bodyPr vert="horz" lIns="91440" tIns="45720" rIns="91440" bIns="45720" rtlCol="0" anchor="b"/>
          <a:lstStyle>
            <a:lvl1pPr algn="l">
              <a:defRPr sz="900" b="0" i="0">
                <a:solidFill>
                  <a:schemeClr val="tx1">
                    <a:tint val="75000"/>
                  </a:schemeClr>
                </a:solidFill>
                <a:effectLst/>
                <a:latin typeface="Helvetica Light" charset="0"/>
                <a:ea typeface="Helvetica Light" charset="0"/>
                <a:cs typeface="Helvetica Light" charset="0"/>
              </a:defRPr>
            </a:lvl1pPr>
          </a:lstStyle>
          <a:p>
            <a:fld id="{5D7764B0-5D4F-C64A-A292-F7BE8AAEF083}"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515600" cy="4351338"/>
          </a:xfrm>
        </p:spPr>
        <p:txBody>
          <a:bodyPr/>
          <a:lstStyle>
            <a:lvl1pPr>
              <a:defRPr sz="3000" b="0" i="0">
                <a:solidFill>
                  <a:schemeClr val="tx1"/>
                </a:solidFill>
                <a:latin typeface="Arial" charset="0"/>
                <a:ea typeface="Arial" charset="0"/>
                <a:cs typeface="Arial" charset="0"/>
              </a:defRPr>
            </a:lvl1pPr>
            <a:lvl2pPr>
              <a:defRPr b="0" i="0">
                <a:solidFill>
                  <a:schemeClr val="tx1"/>
                </a:solidFill>
                <a:latin typeface="Arial" charset="0"/>
                <a:ea typeface="Arial" charset="0"/>
                <a:cs typeface="Arial" charset="0"/>
              </a:defRPr>
            </a:lvl2pPr>
            <a:lvl3pPr>
              <a:defRPr b="0" i="0">
                <a:solidFill>
                  <a:schemeClr val="tx1"/>
                </a:solidFill>
                <a:latin typeface="Arial" charset="0"/>
                <a:ea typeface="Arial" charset="0"/>
                <a:cs typeface="Arial" charset="0"/>
              </a:defRPr>
            </a:lvl3pPr>
            <a:lvl4pPr>
              <a:defRPr>
                <a:solidFill>
                  <a:srgbClr val="243F46"/>
                </a:solidFill>
              </a:defRPr>
            </a:lvl4pPr>
            <a:lvl5pPr>
              <a:defRPr>
                <a:solidFill>
                  <a:srgbClr val="243F46"/>
                </a:solidFill>
              </a:defRPr>
            </a:lvl5pPr>
          </a:lstStyle>
          <a:p>
            <a:pPr lvl="0"/>
            <a:r>
              <a:rPr lang="en-US" dirty="0"/>
              <a:t>Click to edit Master text styles</a:t>
            </a:r>
          </a:p>
          <a:p>
            <a:pPr lvl="1"/>
            <a:r>
              <a:rPr lang="en-US" dirty="0"/>
              <a:t>Second level</a:t>
            </a:r>
          </a:p>
          <a:p>
            <a:pPr lvl="2"/>
            <a:r>
              <a:rPr lang="en-US" dirty="0"/>
              <a:t>Third level</a:t>
            </a:r>
          </a:p>
        </p:txBody>
      </p:sp>
      <p:sp>
        <p:nvSpPr>
          <p:cNvPr id="8" name="Date Placeholder 3"/>
          <p:cNvSpPr>
            <a:spLocks noGrp="1"/>
          </p:cNvSpPr>
          <p:nvPr>
            <p:ph type="dt" sz="half" idx="2"/>
          </p:nvPr>
        </p:nvSpPr>
        <p:spPr>
          <a:xfrm>
            <a:off x="1338682" y="6176963"/>
            <a:ext cx="2242718" cy="246570"/>
          </a:xfrm>
          <a:prstGeom prst="rect">
            <a:avLst/>
          </a:prstGeom>
        </p:spPr>
        <p:txBody>
          <a:bodyPr vert="horz" lIns="91440" tIns="45720" rIns="91440" bIns="45720" rtlCol="0" anchor="b"/>
          <a:lstStyle>
            <a:lvl1pPr algn="l">
              <a:defRPr sz="900">
                <a:solidFill>
                  <a:schemeClr val="tx1">
                    <a:tint val="75000"/>
                  </a:schemeClr>
                </a:solidFill>
                <a:latin typeface="Helvetica" charset="0"/>
                <a:ea typeface="Helvetica" charset="0"/>
                <a:cs typeface="Helvetica" charset="0"/>
              </a:defRPr>
            </a:lvl1pPr>
          </a:lstStyle>
          <a:p>
            <a:fld id="{38D05DE0-EEE1-46E5-8A6B-767F1BEF8D3C}" type="datetime1">
              <a:rPr lang="en-US" smtClean="0"/>
              <a:t>11/7/2019</a:t>
            </a:fld>
            <a:endParaRPr lang="en-US" dirty="0"/>
          </a:p>
        </p:txBody>
      </p:sp>
      <p:sp>
        <p:nvSpPr>
          <p:cNvPr id="9" name="Footer Placeholder 4"/>
          <p:cNvSpPr>
            <a:spLocks noGrp="1"/>
          </p:cNvSpPr>
          <p:nvPr>
            <p:ph type="ftr" sz="quarter" idx="3"/>
          </p:nvPr>
        </p:nvSpPr>
        <p:spPr>
          <a:xfrm>
            <a:off x="4038600" y="6176963"/>
            <a:ext cx="4114800" cy="246570"/>
          </a:xfrm>
          <a:prstGeom prst="rect">
            <a:avLst/>
          </a:prstGeom>
        </p:spPr>
        <p:txBody>
          <a:bodyPr vert="horz" lIns="91440" tIns="45720" rIns="91440" bIns="45720" rtlCol="0" anchor="b"/>
          <a:lstStyle>
            <a:lvl1pPr algn="ctr">
              <a:defRPr sz="900" spc="0">
                <a:solidFill>
                  <a:schemeClr val="tx1">
                    <a:tint val="75000"/>
                  </a:schemeClr>
                </a:solidFill>
                <a:latin typeface="Helvetica" charset="0"/>
                <a:ea typeface="Helvetica" charset="0"/>
                <a:cs typeface="Helvetica" charset="0"/>
              </a:defRPr>
            </a:lvl1pPr>
          </a:lstStyle>
          <a:p>
            <a:r>
              <a:rPr lang="en-US" dirty="0"/>
              <a:t>Copyright Information</a:t>
            </a:r>
          </a:p>
        </p:txBody>
      </p:sp>
      <p:sp>
        <p:nvSpPr>
          <p:cNvPr id="10" name="Slide Number Placeholder 5"/>
          <p:cNvSpPr>
            <a:spLocks noGrp="1"/>
          </p:cNvSpPr>
          <p:nvPr>
            <p:ph type="sldNum" sz="quarter" idx="4"/>
          </p:nvPr>
        </p:nvSpPr>
        <p:spPr>
          <a:xfrm>
            <a:off x="838200" y="6176963"/>
            <a:ext cx="500482" cy="246570"/>
          </a:xfrm>
          <a:prstGeom prst="rect">
            <a:avLst/>
          </a:prstGeom>
        </p:spPr>
        <p:txBody>
          <a:bodyPr vert="horz" lIns="91440" tIns="45720" rIns="91440" bIns="45720" rtlCol="0" anchor="b"/>
          <a:lstStyle>
            <a:lvl1pPr algn="l">
              <a:defRPr sz="900" b="0" i="0">
                <a:solidFill>
                  <a:schemeClr val="tx1">
                    <a:tint val="75000"/>
                  </a:schemeClr>
                </a:solidFill>
                <a:effectLst/>
                <a:latin typeface="Helvetica Light" charset="0"/>
                <a:ea typeface="Helvetica Light" charset="0"/>
                <a:cs typeface="Helvetica Light" charset="0"/>
              </a:defRPr>
            </a:lvl1pPr>
          </a:lstStyle>
          <a:p>
            <a:fld id="{5D7764B0-5D4F-C64A-A292-F7BE8AAEF083}" type="slidenum">
              <a:rPr lang="en-US" smtClean="0"/>
              <a:pPr/>
              <a:t>‹#›</a:t>
            </a:fld>
            <a:endParaRPr lang="en-US" dirty="0"/>
          </a:p>
        </p:txBody>
      </p:sp>
      <p:sp>
        <p:nvSpPr>
          <p:cNvPr id="7" name="Title 1">
            <a:extLst>
              <a:ext uri="{FF2B5EF4-FFF2-40B4-BE49-F238E27FC236}">
                <a16:creationId xmlns:a16="http://schemas.microsoft.com/office/drawing/2014/main" id="{4B884FEF-554D-4652-BD2B-5814898E7474}"/>
              </a:ext>
            </a:extLst>
          </p:cNvPr>
          <p:cNvSpPr txBox="1">
            <a:spLocks/>
          </p:cNvSpPr>
          <p:nvPr userDrawn="1"/>
        </p:nvSpPr>
        <p:spPr>
          <a:xfrm>
            <a:off x="838200" y="-4153"/>
            <a:ext cx="10515600" cy="11099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i="0" kern="1200">
                <a:solidFill>
                  <a:schemeClr val="bg1"/>
                </a:solidFill>
                <a:latin typeface="Arial" charset="0"/>
                <a:ea typeface="Arial" charset="0"/>
                <a:cs typeface="Arial" charset="0"/>
              </a:defRPr>
            </a:lvl1pPr>
          </a:lstStyle>
          <a:p>
            <a:r>
              <a:rPr lang="en-US" dirty="0">
                <a:solidFill>
                  <a:srgbClr val="94175D"/>
                </a:solidFill>
              </a:rPr>
              <a:t>Click to edit Master title style</a:t>
            </a:r>
          </a:p>
        </p:txBody>
      </p:sp>
      <p:sp>
        <p:nvSpPr>
          <p:cNvPr id="11" name="Rectangle 10">
            <a:extLst>
              <a:ext uri="{FF2B5EF4-FFF2-40B4-BE49-F238E27FC236}">
                <a16:creationId xmlns:a16="http://schemas.microsoft.com/office/drawing/2014/main" id="{18E1145B-FE92-4059-8840-559B7798BDEE}"/>
              </a:ext>
            </a:extLst>
          </p:cNvPr>
          <p:cNvSpPr/>
          <p:nvPr userDrawn="1"/>
        </p:nvSpPr>
        <p:spPr>
          <a:xfrm>
            <a:off x="0" y="-4155"/>
            <a:ext cx="12192000" cy="1109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94175D"/>
              </a:solidFill>
            </a:endParaRPr>
          </a:p>
        </p:txBody>
      </p:sp>
      <p:sp>
        <p:nvSpPr>
          <p:cNvPr id="12" name="Title 1">
            <a:extLst>
              <a:ext uri="{FF2B5EF4-FFF2-40B4-BE49-F238E27FC236}">
                <a16:creationId xmlns:a16="http://schemas.microsoft.com/office/drawing/2014/main" id="{FFFF2C40-8F28-4C2C-9C4A-C9257D80C0CC}"/>
              </a:ext>
            </a:extLst>
          </p:cNvPr>
          <p:cNvSpPr>
            <a:spLocks noGrp="1"/>
          </p:cNvSpPr>
          <p:nvPr>
            <p:ph type="title"/>
          </p:nvPr>
        </p:nvSpPr>
        <p:spPr>
          <a:xfrm>
            <a:off x="838200" y="-4155"/>
            <a:ext cx="10515600" cy="1109919"/>
          </a:xfrm>
        </p:spPr>
        <p:txBody>
          <a:bodyPr>
            <a:normAutofit/>
          </a:bodyPr>
          <a:lstStyle>
            <a:lvl1pPr>
              <a:defRPr sz="3000" b="1" i="0">
                <a:solidFill>
                  <a:srgbClr val="94175D"/>
                </a:solidFill>
                <a:latin typeface="Arial" charset="0"/>
                <a:ea typeface="Arial" charset="0"/>
                <a:cs typeface="Arial" charset="0"/>
              </a:defRPr>
            </a:lvl1pPr>
          </a:lstStyle>
          <a:p>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and Image 1">
    <p:spTree>
      <p:nvGrpSpPr>
        <p:cNvPr id="1" name=""/>
        <p:cNvGrpSpPr/>
        <p:nvPr/>
      </p:nvGrpSpPr>
      <p:grpSpPr>
        <a:xfrm>
          <a:off x="0" y="0"/>
          <a:ext cx="0" cy="0"/>
          <a:chOff x="0" y="0"/>
          <a:chExt cx="0" cy="0"/>
        </a:xfrm>
      </p:grpSpPr>
      <p:sp>
        <p:nvSpPr>
          <p:cNvPr id="14" name="Content Placeholder 2"/>
          <p:cNvSpPr>
            <a:spLocks noGrp="1"/>
          </p:cNvSpPr>
          <p:nvPr>
            <p:ph idx="10"/>
          </p:nvPr>
        </p:nvSpPr>
        <p:spPr>
          <a:xfrm>
            <a:off x="0" y="0"/>
            <a:ext cx="6085840" cy="6858000"/>
          </a:xfrm>
          <a:solidFill>
            <a:schemeClr val="bg1">
              <a:lumMod val="95000"/>
            </a:schemeClr>
          </a:solidFill>
        </p:spPr>
        <p:txBody>
          <a:bodyPr/>
          <a:lstStyle>
            <a:lvl1pPr>
              <a:defRPr b="0" i="0">
                <a:solidFill>
                  <a:srgbClr val="55C3B9"/>
                </a:solidFill>
                <a:latin typeface="Arial" charset="0"/>
                <a:ea typeface="Arial" charset="0"/>
                <a:cs typeface="Arial" charset="0"/>
              </a:defRPr>
            </a:lvl1pPr>
            <a:lvl2pPr>
              <a:defRPr b="0" i="0">
                <a:solidFill>
                  <a:schemeClr val="tx1"/>
                </a:solidFill>
                <a:latin typeface="Arial" charset="0"/>
                <a:ea typeface="Arial" charset="0"/>
                <a:cs typeface="Arial" charset="0"/>
              </a:defRPr>
            </a:lvl2pPr>
            <a:lvl3pPr>
              <a:defRPr b="0" i="0">
                <a:solidFill>
                  <a:schemeClr val="tx1"/>
                </a:solidFill>
                <a:latin typeface="Arial" charset="0"/>
                <a:ea typeface="Arial" charset="0"/>
                <a:cs typeface="Arial" charset="0"/>
              </a:defRPr>
            </a:lvl3pPr>
            <a:lvl4pPr>
              <a:defRPr>
                <a:solidFill>
                  <a:srgbClr val="243F46"/>
                </a:solidFill>
              </a:defRPr>
            </a:lvl4pPr>
            <a:lvl5pPr>
              <a:defRPr>
                <a:solidFill>
                  <a:srgbClr val="243F46"/>
                </a:solidFill>
              </a:defRPr>
            </a:lvl5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US" dirty="0"/>
          </a:p>
        </p:txBody>
      </p:sp>
      <p:sp>
        <p:nvSpPr>
          <p:cNvPr id="11" name="Rectangle 10"/>
          <p:cNvSpPr/>
          <p:nvPr userDrawn="1"/>
        </p:nvSpPr>
        <p:spPr>
          <a:xfrm>
            <a:off x="6085840" y="-1"/>
            <a:ext cx="6106160" cy="1093077"/>
          </a:xfrm>
          <a:prstGeom prst="rect">
            <a:avLst/>
          </a:prstGeom>
          <a:solidFill>
            <a:srgbClr val="9417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94175D"/>
              </a:solidFill>
            </a:endParaRPr>
          </a:p>
        </p:txBody>
      </p:sp>
      <p:sp>
        <p:nvSpPr>
          <p:cNvPr id="2" name="Title 1"/>
          <p:cNvSpPr>
            <a:spLocks noGrp="1"/>
          </p:cNvSpPr>
          <p:nvPr>
            <p:ph type="title"/>
          </p:nvPr>
        </p:nvSpPr>
        <p:spPr>
          <a:xfrm>
            <a:off x="6766560" y="7777"/>
            <a:ext cx="4587240" cy="1085299"/>
          </a:xfrm>
        </p:spPr>
        <p:txBody>
          <a:bodyPr>
            <a:normAutofit/>
          </a:bodyPr>
          <a:lstStyle>
            <a:lvl1pPr>
              <a:defRPr sz="3000" b="1" i="0">
                <a:solidFill>
                  <a:schemeClr val="bg1"/>
                </a:solidFill>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a:xfrm>
            <a:off x="6766560" y="1825625"/>
            <a:ext cx="4587240" cy="4351338"/>
          </a:xfrm>
        </p:spPr>
        <p:txBody>
          <a:bodyPr/>
          <a:lstStyle>
            <a:lvl1pPr>
              <a:defRPr sz="3000" b="0" i="0">
                <a:solidFill>
                  <a:schemeClr val="tx1"/>
                </a:solidFill>
                <a:latin typeface="Arial" charset="0"/>
                <a:ea typeface="Arial" charset="0"/>
                <a:cs typeface="Arial" charset="0"/>
              </a:defRPr>
            </a:lvl1pPr>
            <a:lvl2pPr>
              <a:defRPr b="0" i="0">
                <a:solidFill>
                  <a:schemeClr val="tx1"/>
                </a:solidFill>
                <a:latin typeface="Arial" charset="0"/>
                <a:ea typeface="Arial" charset="0"/>
                <a:cs typeface="Arial" charset="0"/>
              </a:defRPr>
            </a:lvl2pPr>
            <a:lvl3pPr>
              <a:defRPr b="0" i="0">
                <a:solidFill>
                  <a:schemeClr val="tx1"/>
                </a:solidFill>
                <a:latin typeface="Arial" charset="0"/>
                <a:ea typeface="Arial" charset="0"/>
                <a:cs typeface="Arial" charset="0"/>
              </a:defRPr>
            </a:lvl3pPr>
            <a:lvl4pPr>
              <a:defRPr>
                <a:solidFill>
                  <a:srgbClr val="243F46"/>
                </a:solidFill>
              </a:defRPr>
            </a:lvl4pPr>
            <a:lvl5pPr>
              <a:defRPr>
                <a:solidFill>
                  <a:srgbClr val="243F46"/>
                </a:solidFill>
              </a:defRPr>
            </a:lvl5pPr>
          </a:lstStyle>
          <a:p>
            <a:pPr lvl="0"/>
            <a:r>
              <a:rPr lang="en-US" dirty="0"/>
              <a:t>Click to edit Master text styles</a:t>
            </a:r>
          </a:p>
          <a:p>
            <a:pPr lvl="1"/>
            <a:r>
              <a:rPr lang="en-US" dirty="0"/>
              <a:t>Second level</a:t>
            </a:r>
          </a:p>
          <a:p>
            <a:pPr lvl="2"/>
            <a:r>
              <a:rPr lang="en-US" dirty="0"/>
              <a:t>Third level</a:t>
            </a:r>
          </a:p>
        </p:txBody>
      </p:sp>
      <p:sp>
        <p:nvSpPr>
          <p:cNvPr id="8" name="Date Placeholder 3"/>
          <p:cNvSpPr>
            <a:spLocks noGrp="1"/>
          </p:cNvSpPr>
          <p:nvPr>
            <p:ph type="dt" sz="half" idx="2"/>
          </p:nvPr>
        </p:nvSpPr>
        <p:spPr>
          <a:xfrm>
            <a:off x="1338682" y="6176963"/>
            <a:ext cx="2242718" cy="246570"/>
          </a:xfrm>
          <a:prstGeom prst="rect">
            <a:avLst/>
          </a:prstGeom>
        </p:spPr>
        <p:txBody>
          <a:bodyPr vert="horz" lIns="91440" tIns="45720" rIns="91440" bIns="45720" rtlCol="0" anchor="b"/>
          <a:lstStyle>
            <a:lvl1pPr algn="l">
              <a:defRPr sz="900">
                <a:solidFill>
                  <a:schemeClr val="tx1">
                    <a:tint val="75000"/>
                  </a:schemeClr>
                </a:solidFill>
                <a:latin typeface="Helvetica" charset="0"/>
                <a:ea typeface="Helvetica" charset="0"/>
                <a:cs typeface="Helvetica" charset="0"/>
              </a:defRPr>
            </a:lvl1pPr>
          </a:lstStyle>
          <a:p>
            <a:fld id="{7B38F683-68BA-4C50-8424-438133DC2553}" type="datetime1">
              <a:rPr lang="en-US" smtClean="0"/>
              <a:t>11/7/2019</a:t>
            </a:fld>
            <a:endParaRPr lang="en-US" dirty="0"/>
          </a:p>
        </p:txBody>
      </p:sp>
      <p:sp>
        <p:nvSpPr>
          <p:cNvPr id="9" name="Footer Placeholder 4"/>
          <p:cNvSpPr>
            <a:spLocks noGrp="1"/>
          </p:cNvSpPr>
          <p:nvPr>
            <p:ph type="ftr" sz="quarter" idx="3"/>
          </p:nvPr>
        </p:nvSpPr>
        <p:spPr>
          <a:xfrm>
            <a:off x="4038600" y="6176963"/>
            <a:ext cx="4114800" cy="246570"/>
          </a:xfrm>
          <a:prstGeom prst="rect">
            <a:avLst/>
          </a:prstGeom>
        </p:spPr>
        <p:txBody>
          <a:bodyPr vert="horz" lIns="91440" tIns="45720" rIns="91440" bIns="45720" rtlCol="0" anchor="b"/>
          <a:lstStyle>
            <a:lvl1pPr algn="ctr">
              <a:defRPr sz="900" spc="0">
                <a:solidFill>
                  <a:schemeClr val="tx1">
                    <a:tint val="75000"/>
                  </a:schemeClr>
                </a:solidFill>
                <a:latin typeface="Helvetica" charset="0"/>
                <a:ea typeface="Helvetica" charset="0"/>
                <a:cs typeface="Helvetica" charset="0"/>
              </a:defRPr>
            </a:lvl1pPr>
          </a:lstStyle>
          <a:p>
            <a:r>
              <a:rPr lang="en-US" dirty="0"/>
              <a:t>Copyright Information</a:t>
            </a:r>
          </a:p>
        </p:txBody>
      </p:sp>
      <p:sp>
        <p:nvSpPr>
          <p:cNvPr id="10" name="Slide Number Placeholder 5"/>
          <p:cNvSpPr>
            <a:spLocks noGrp="1"/>
          </p:cNvSpPr>
          <p:nvPr>
            <p:ph type="sldNum" sz="quarter" idx="4"/>
          </p:nvPr>
        </p:nvSpPr>
        <p:spPr>
          <a:xfrm>
            <a:off x="838200" y="6176963"/>
            <a:ext cx="500482" cy="246570"/>
          </a:xfrm>
          <a:prstGeom prst="rect">
            <a:avLst/>
          </a:prstGeom>
        </p:spPr>
        <p:txBody>
          <a:bodyPr vert="horz" lIns="91440" tIns="45720" rIns="91440" bIns="45720" rtlCol="0" anchor="b"/>
          <a:lstStyle>
            <a:lvl1pPr algn="l">
              <a:defRPr sz="900" b="0" i="0">
                <a:solidFill>
                  <a:schemeClr val="tx1">
                    <a:tint val="75000"/>
                  </a:schemeClr>
                </a:solidFill>
                <a:effectLst/>
                <a:latin typeface="Helvetica Light" charset="0"/>
                <a:ea typeface="Helvetica Light" charset="0"/>
                <a:cs typeface="Helvetica Light" charset="0"/>
              </a:defRPr>
            </a:lvl1pPr>
          </a:lstStyle>
          <a:p>
            <a:fld id="{5D7764B0-5D4F-C64A-A292-F7BE8AAEF083}"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and Image 2">
    <p:spTree>
      <p:nvGrpSpPr>
        <p:cNvPr id="1" name=""/>
        <p:cNvGrpSpPr/>
        <p:nvPr/>
      </p:nvGrpSpPr>
      <p:grpSpPr>
        <a:xfrm>
          <a:off x="0" y="0"/>
          <a:ext cx="0" cy="0"/>
          <a:chOff x="0" y="0"/>
          <a:chExt cx="0" cy="0"/>
        </a:xfrm>
      </p:grpSpPr>
      <p:sp>
        <p:nvSpPr>
          <p:cNvPr id="2" name="Title 1"/>
          <p:cNvSpPr>
            <a:spLocks noGrp="1"/>
          </p:cNvSpPr>
          <p:nvPr>
            <p:ph type="title"/>
          </p:nvPr>
        </p:nvSpPr>
        <p:spPr>
          <a:xfrm>
            <a:off x="6766560" y="7781"/>
            <a:ext cx="4587240" cy="1095806"/>
          </a:xfrm>
        </p:spPr>
        <p:txBody>
          <a:bodyPr>
            <a:normAutofit/>
          </a:bodyPr>
          <a:lstStyle>
            <a:lvl1pPr>
              <a:defRPr sz="3000" b="1" i="0">
                <a:solidFill>
                  <a:srgbClr val="94175D"/>
                </a:solidFill>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a:xfrm>
            <a:off x="6766560" y="1825625"/>
            <a:ext cx="4587240" cy="4351338"/>
          </a:xfrm>
        </p:spPr>
        <p:txBody>
          <a:bodyPr/>
          <a:lstStyle>
            <a:lvl1pPr>
              <a:defRPr sz="3000" b="0" i="0">
                <a:solidFill>
                  <a:schemeClr val="tx1"/>
                </a:solidFill>
                <a:latin typeface="Arial" charset="0"/>
                <a:ea typeface="Arial" charset="0"/>
                <a:cs typeface="Arial" charset="0"/>
              </a:defRPr>
            </a:lvl1pPr>
            <a:lvl2pPr>
              <a:defRPr b="0" i="0">
                <a:solidFill>
                  <a:schemeClr val="tx1"/>
                </a:solidFill>
                <a:latin typeface="Arial" charset="0"/>
                <a:ea typeface="Arial" charset="0"/>
                <a:cs typeface="Arial" charset="0"/>
              </a:defRPr>
            </a:lvl2pPr>
            <a:lvl3pPr>
              <a:defRPr b="0" i="0">
                <a:solidFill>
                  <a:schemeClr val="tx1"/>
                </a:solidFill>
                <a:latin typeface="Arial" charset="0"/>
                <a:ea typeface="Arial" charset="0"/>
                <a:cs typeface="Arial" charset="0"/>
              </a:defRPr>
            </a:lvl3pPr>
            <a:lvl4pPr>
              <a:defRPr>
                <a:solidFill>
                  <a:srgbClr val="243F46"/>
                </a:solidFill>
              </a:defRPr>
            </a:lvl4pPr>
            <a:lvl5pPr>
              <a:defRPr>
                <a:solidFill>
                  <a:srgbClr val="243F46"/>
                </a:solidFill>
              </a:defRPr>
            </a:lvl5pPr>
          </a:lstStyle>
          <a:p>
            <a:pPr lvl="0"/>
            <a:r>
              <a:rPr lang="en-US" dirty="0"/>
              <a:t>Click to edit Master text styles</a:t>
            </a:r>
          </a:p>
          <a:p>
            <a:pPr lvl="1"/>
            <a:r>
              <a:rPr lang="en-US" dirty="0"/>
              <a:t>Second level</a:t>
            </a:r>
          </a:p>
          <a:p>
            <a:pPr lvl="2"/>
            <a:r>
              <a:rPr lang="en-US" dirty="0"/>
              <a:t>Third level</a:t>
            </a:r>
          </a:p>
        </p:txBody>
      </p:sp>
      <p:sp>
        <p:nvSpPr>
          <p:cNvPr id="14" name="Content Placeholder 2"/>
          <p:cNvSpPr>
            <a:spLocks noGrp="1"/>
          </p:cNvSpPr>
          <p:nvPr>
            <p:ph idx="10"/>
          </p:nvPr>
        </p:nvSpPr>
        <p:spPr>
          <a:xfrm>
            <a:off x="0" y="0"/>
            <a:ext cx="6085840" cy="6858000"/>
          </a:xfrm>
          <a:solidFill>
            <a:schemeClr val="bg1">
              <a:lumMod val="95000"/>
            </a:schemeClr>
          </a:solidFill>
        </p:spPr>
        <p:txBody>
          <a:bodyPr/>
          <a:lstStyle>
            <a:lvl1pPr>
              <a:defRPr b="0" i="0">
                <a:solidFill>
                  <a:srgbClr val="55C3B9"/>
                </a:solidFill>
                <a:latin typeface="Arial" charset="0"/>
                <a:ea typeface="Arial" charset="0"/>
                <a:cs typeface="Arial" charset="0"/>
              </a:defRPr>
            </a:lvl1pPr>
            <a:lvl2pPr>
              <a:defRPr b="0" i="0">
                <a:solidFill>
                  <a:schemeClr val="tx1"/>
                </a:solidFill>
                <a:latin typeface="Arial" charset="0"/>
                <a:ea typeface="Arial" charset="0"/>
                <a:cs typeface="Arial" charset="0"/>
              </a:defRPr>
            </a:lvl2pPr>
            <a:lvl3pPr>
              <a:defRPr b="0" i="0">
                <a:solidFill>
                  <a:schemeClr val="tx1"/>
                </a:solidFill>
                <a:latin typeface="Arial" charset="0"/>
                <a:ea typeface="Arial" charset="0"/>
                <a:cs typeface="Arial" charset="0"/>
              </a:defRPr>
            </a:lvl3pPr>
            <a:lvl4pPr>
              <a:defRPr>
                <a:solidFill>
                  <a:srgbClr val="243F46"/>
                </a:solidFill>
              </a:defRPr>
            </a:lvl4pPr>
            <a:lvl5pPr>
              <a:defRPr>
                <a:solidFill>
                  <a:srgbClr val="243F46"/>
                </a:solidFill>
              </a:defRPr>
            </a:lvl5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US" dirty="0"/>
          </a:p>
        </p:txBody>
      </p:sp>
      <p:sp>
        <p:nvSpPr>
          <p:cNvPr id="4" name="Date Placeholder 3">
            <a:extLst>
              <a:ext uri="{FF2B5EF4-FFF2-40B4-BE49-F238E27FC236}">
                <a16:creationId xmlns:a16="http://schemas.microsoft.com/office/drawing/2014/main" id="{3E02F002-753C-4729-9521-094BB730F3B4}"/>
              </a:ext>
            </a:extLst>
          </p:cNvPr>
          <p:cNvSpPr>
            <a:spLocks noGrp="1"/>
          </p:cNvSpPr>
          <p:nvPr>
            <p:ph type="dt" sz="half" idx="11"/>
          </p:nvPr>
        </p:nvSpPr>
        <p:spPr/>
        <p:txBody>
          <a:bodyPr/>
          <a:lstStyle/>
          <a:p>
            <a:fld id="{F08205A7-7BCA-4E2B-9D37-CE057106F320}" type="datetime1">
              <a:rPr lang="en-US" smtClean="0"/>
              <a:t>11/7/2019</a:t>
            </a:fld>
            <a:endParaRPr lang="en-US" dirty="0"/>
          </a:p>
        </p:txBody>
      </p:sp>
      <p:sp>
        <p:nvSpPr>
          <p:cNvPr id="5" name="Footer Placeholder 4">
            <a:extLst>
              <a:ext uri="{FF2B5EF4-FFF2-40B4-BE49-F238E27FC236}">
                <a16:creationId xmlns:a16="http://schemas.microsoft.com/office/drawing/2014/main" id="{FCD3906C-247B-48D9-B32C-254DB986B7E4}"/>
              </a:ext>
            </a:extLst>
          </p:cNvPr>
          <p:cNvSpPr>
            <a:spLocks noGrp="1"/>
          </p:cNvSpPr>
          <p:nvPr>
            <p:ph type="ftr" sz="quarter" idx="12"/>
          </p:nvPr>
        </p:nvSpPr>
        <p:spPr/>
        <p:txBody>
          <a:bodyPr/>
          <a:lstStyle/>
          <a:p>
            <a:r>
              <a:rPr lang="en-US" dirty="0"/>
              <a:t>Copyright Information</a:t>
            </a:r>
          </a:p>
        </p:txBody>
      </p:sp>
      <p:sp>
        <p:nvSpPr>
          <p:cNvPr id="6" name="Slide Number Placeholder 5">
            <a:extLst>
              <a:ext uri="{FF2B5EF4-FFF2-40B4-BE49-F238E27FC236}">
                <a16:creationId xmlns:a16="http://schemas.microsoft.com/office/drawing/2014/main" id="{C6FC5A66-9B2E-4F0A-83D4-833205658AEE}"/>
              </a:ext>
            </a:extLst>
          </p:cNvPr>
          <p:cNvSpPr>
            <a:spLocks noGrp="1"/>
          </p:cNvSpPr>
          <p:nvPr>
            <p:ph type="sldNum" sz="quarter" idx="13"/>
          </p:nvPr>
        </p:nvSpPr>
        <p:spPr/>
        <p:txBody>
          <a:bodyPr/>
          <a:lstStyle/>
          <a:p>
            <a:fld id="{5D7764B0-5D4F-C64A-A292-F7BE8AAEF083}"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338682" y="6176963"/>
            <a:ext cx="2242718" cy="246570"/>
          </a:xfrm>
          <a:prstGeom prst="rect">
            <a:avLst/>
          </a:prstGeom>
        </p:spPr>
        <p:txBody>
          <a:bodyPr vert="horz" lIns="91440" tIns="45720" rIns="91440" bIns="45720" rtlCol="0" anchor="b"/>
          <a:lstStyle>
            <a:lvl1pPr algn="l">
              <a:defRPr sz="900" b="0" i="0">
                <a:solidFill>
                  <a:schemeClr val="tx1">
                    <a:tint val="75000"/>
                  </a:schemeClr>
                </a:solidFill>
                <a:latin typeface="Arial" charset="0"/>
                <a:ea typeface="Arial" charset="0"/>
                <a:cs typeface="Arial" charset="0"/>
              </a:defRPr>
            </a:lvl1pPr>
          </a:lstStyle>
          <a:p>
            <a:fld id="{32C2BE1C-E164-4DCC-A3DC-211E9C2EE58F}" type="datetime1">
              <a:rPr lang="en-US" smtClean="0"/>
              <a:t>11/7/2019</a:t>
            </a:fld>
            <a:endParaRPr lang="en-US" dirty="0"/>
          </a:p>
        </p:txBody>
      </p:sp>
      <p:sp>
        <p:nvSpPr>
          <p:cNvPr id="5" name="Footer Placeholder 4"/>
          <p:cNvSpPr>
            <a:spLocks noGrp="1"/>
          </p:cNvSpPr>
          <p:nvPr>
            <p:ph type="ftr" sz="quarter" idx="3"/>
          </p:nvPr>
        </p:nvSpPr>
        <p:spPr>
          <a:xfrm>
            <a:off x="4038600" y="6176963"/>
            <a:ext cx="4114800" cy="246570"/>
          </a:xfrm>
          <a:prstGeom prst="rect">
            <a:avLst/>
          </a:prstGeom>
        </p:spPr>
        <p:txBody>
          <a:bodyPr vert="horz" lIns="91440" tIns="45720" rIns="91440" bIns="45720" rtlCol="0" anchor="b"/>
          <a:lstStyle>
            <a:lvl1pPr algn="ctr">
              <a:defRPr sz="900" b="0" i="0" spc="0">
                <a:solidFill>
                  <a:schemeClr val="tx1">
                    <a:tint val="75000"/>
                  </a:schemeClr>
                </a:solidFill>
                <a:latin typeface="Arial" charset="0"/>
                <a:ea typeface="Arial" charset="0"/>
                <a:cs typeface="Arial" charset="0"/>
              </a:defRPr>
            </a:lvl1pPr>
          </a:lstStyle>
          <a:p>
            <a:r>
              <a:rPr lang="en-US" dirty="0"/>
              <a:t>Copyright Information</a:t>
            </a:r>
          </a:p>
        </p:txBody>
      </p:sp>
      <p:sp>
        <p:nvSpPr>
          <p:cNvPr id="6" name="Slide Number Placeholder 5"/>
          <p:cNvSpPr>
            <a:spLocks noGrp="1"/>
          </p:cNvSpPr>
          <p:nvPr>
            <p:ph type="sldNum" sz="quarter" idx="4"/>
          </p:nvPr>
        </p:nvSpPr>
        <p:spPr>
          <a:xfrm>
            <a:off x="838200" y="6176963"/>
            <a:ext cx="500482" cy="246570"/>
          </a:xfrm>
          <a:prstGeom prst="rect">
            <a:avLst/>
          </a:prstGeom>
        </p:spPr>
        <p:txBody>
          <a:bodyPr vert="horz" lIns="91440" tIns="45720" rIns="91440" bIns="45720" rtlCol="0" anchor="b"/>
          <a:lstStyle>
            <a:lvl1pPr algn="l">
              <a:defRPr sz="900" b="0" i="0">
                <a:solidFill>
                  <a:schemeClr val="tx1">
                    <a:tint val="75000"/>
                  </a:schemeClr>
                </a:solidFill>
                <a:effectLst/>
                <a:latin typeface="Arial" charset="0"/>
                <a:ea typeface="Arial" charset="0"/>
                <a:cs typeface="Arial" charset="0"/>
              </a:defRPr>
            </a:lvl1pPr>
          </a:lstStyle>
          <a:p>
            <a:fld id="{5D7764B0-5D4F-C64A-A292-F7BE8AAEF083}" type="slidenum">
              <a:rPr lang="en-US" smtClean="0"/>
              <a:pPr/>
              <a:t>‹#›</a:t>
            </a:fld>
            <a:endParaRPr lang="en-US" dirty="0"/>
          </a:p>
        </p:txBody>
      </p:sp>
      <p:pic>
        <p:nvPicPr>
          <p:cNvPr id="7" name="Picture 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941439" y="6013940"/>
            <a:ext cx="1262128" cy="848213"/>
          </a:xfrm>
          <a:prstGeom prst="rect">
            <a:avLst/>
          </a:prstGeom>
        </p:spPr>
      </p:pic>
    </p:spTree>
    <p:extLst>
      <p:ext uri="{BB962C8B-B14F-4D97-AF65-F5344CB8AC3E}">
        <p14:creationId xmlns:p14="http://schemas.microsoft.com/office/powerpoint/2010/main" val="1032162987"/>
      </p:ext>
    </p:extLst>
  </p:cSld>
  <p:clrMap bg1="lt1" tx1="dk1" bg2="lt2" tx2="dk2" accent1="accent1" accent2="accent2" accent3="accent3" accent4="accent4" accent5="accent5" accent6="accent6" hlink="hlink" folHlink="folHlink"/>
  <p:sldLayoutIdLst>
    <p:sldLayoutId id="2147483655" r:id="rId1"/>
    <p:sldLayoutId id="2147483668" r:id="rId2"/>
    <p:sldLayoutId id="2147483662" r:id="rId3"/>
    <p:sldLayoutId id="2147483651" r:id="rId4"/>
    <p:sldLayoutId id="2147483650" r:id="rId5"/>
    <p:sldLayoutId id="2147483660" r:id="rId6"/>
    <p:sldLayoutId id="2147483663" r:id="rId7"/>
    <p:sldLayoutId id="2147483665" r:id="rId8"/>
    <p:sldLayoutId id="2147483664" r:id="rId9"/>
    <p:sldLayoutId id="2147483661" r:id="rId10"/>
    <p:sldLayoutId id="2147483666" r:id="rId11"/>
    <p:sldLayoutId id="2147483667" r:id="rId12"/>
    <p:sldLayoutId id="2147483669" r:id="rId13"/>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Helvetica Light" charset="0"/>
          <a:ea typeface="Helvetica Light" charset="0"/>
          <a:cs typeface="Helvetica Light" charset="0"/>
        </a:defRPr>
      </a:lvl1pPr>
    </p:titleStyle>
    <p:body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Helvetica Light" charset="0"/>
          <a:ea typeface="Helvetica Light" charset="0"/>
          <a:cs typeface="Helvetica Light" charset="0"/>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Helvetica Light" charset="0"/>
          <a:ea typeface="Helvetica Light" charset="0"/>
          <a:cs typeface="Helvetica Light" charset="0"/>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Helvetica Light" charset="0"/>
          <a:ea typeface="Helvetica Light" charset="0"/>
          <a:cs typeface="Helvetica Light" charset="0"/>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Helvetica Light" charset="0"/>
          <a:ea typeface="Helvetica Light" charset="0"/>
          <a:cs typeface="Helvetica Light" charset="0"/>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Helvetica Light" charset="0"/>
          <a:ea typeface="Helvetica Light" charset="0"/>
          <a:cs typeface="Helvetica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0.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0636" y="3452776"/>
            <a:ext cx="9792480" cy="852060"/>
          </a:xfrm>
        </p:spPr>
        <p:txBody>
          <a:bodyPr>
            <a:normAutofit fontScale="90000"/>
          </a:bodyPr>
          <a:lstStyle/>
          <a:p>
            <a:r>
              <a:rPr lang="en-US" b="1" dirty="0">
                <a:solidFill>
                  <a:schemeClr val="tx1"/>
                </a:solidFill>
              </a:rPr>
              <a:t>Sample Language for Communications</a:t>
            </a:r>
            <a:br>
              <a:rPr lang="en-US" b="1" dirty="0"/>
            </a:br>
            <a:r>
              <a:rPr lang="en-US" sz="3100" b="1" dirty="0"/>
              <a:t>Heart Failure Charter</a:t>
            </a:r>
            <a:endParaRPr lang="en-US" dirty="0"/>
          </a:p>
        </p:txBody>
      </p:sp>
      <p:sp>
        <p:nvSpPr>
          <p:cNvPr id="4" name="Text Placeholder 3"/>
          <p:cNvSpPr>
            <a:spLocks noGrp="1"/>
          </p:cNvSpPr>
          <p:nvPr>
            <p:ph type="body" sz="quarter" idx="11"/>
          </p:nvPr>
        </p:nvSpPr>
        <p:spPr>
          <a:xfrm>
            <a:off x="1160636" y="4875175"/>
            <a:ext cx="2329184" cy="500352"/>
          </a:xfrm>
        </p:spPr>
        <p:txBody>
          <a:bodyPr/>
          <a:lstStyle/>
          <a:p>
            <a:pPr algn="ctr"/>
            <a:r>
              <a:rPr lang="en-US" dirty="0"/>
              <a:t>October 2019</a:t>
            </a:r>
          </a:p>
        </p:txBody>
      </p:sp>
    </p:spTree>
    <p:extLst>
      <p:ext uri="{BB962C8B-B14F-4D97-AF65-F5344CB8AC3E}">
        <p14:creationId xmlns:p14="http://schemas.microsoft.com/office/powerpoint/2010/main" val="1086561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9C3DA-40DB-4CE8-9277-0280FE2B5BAB}"/>
              </a:ext>
            </a:extLst>
          </p:cNvPr>
          <p:cNvSpPr>
            <a:spLocks noGrp="1"/>
          </p:cNvSpPr>
          <p:nvPr>
            <p:ph type="title"/>
          </p:nvPr>
        </p:nvSpPr>
        <p:spPr>
          <a:xfrm>
            <a:off x="170793" y="278333"/>
            <a:ext cx="10515600" cy="429768"/>
          </a:xfrm>
        </p:spPr>
        <p:txBody>
          <a:bodyPr/>
          <a:lstStyle/>
          <a:p>
            <a:r>
              <a:rPr lang="en-US" sz="2800" dirty="0">
                <a:solidFill>
                  <a:schemeClr val="tx1"/>
                </a:solidFill>
              </a:rPr>
              <a:t>Key messaging extrapolated from the Charter</a:t>
            </a:r>
            <a:endParaRPr lang="en-US" dirty="0">
              <a:solidFill>
                <a:schemeClr val="tx2"/>
              </a:solidFill>
            </a:endParaRPr>
          </a:p>
        </p:txBody>
      </p:sp>
      <p:sp>
        <p:nvSpPr>
          <p:cNvPr id="4" name="Slide Number Placeholder 3">
            <a:extLst>
              <a:ext uri="{FF2B5EF4-FFF2-40B4-BE49-F238E27FC236}">
                <a16:creationId xmlns:a16="http://schemas.microsoft.com/office/drawing/2014/main" id="{1D104ABC-ADEB-4E69-A0E4-005041BDF006}"/>
              </a:ext>
            </a:extLst>
          </p:cNvPr>
          <p:cNvSpPr>
            <a:spLocks noGrp="1"/>
          </p:cNvSpPr>
          <p:nvPr>
            <p:ph type="sldNum" sz="quarter" idx="4"/>
          </p:nvPr>
        </p:nvSpPr>
        <p:spPr>
          <a:xfrm>
            <a:off x="838200" y="6176963"/>
            <a:ext cx="500482" cy="246570"/>
          </a:xfrm>
        </p:spPr>
        <p:txBody>
          <a:bodyPr/>
          <a:lstStyle/>
          <a:p>
            <a:fld id="{5D7764B0-5D4F-C64A-A292-F7BE8AAEF083}" type="slidenum">
              <a:rPr lang="en-US" smtClean="0"/>
              <a:pPr/>
              <a:t>2</a:t>
            </a:fld>
            <a:endParaRPr lang="en-US" dirty="0"/>
          </a:p>
        </p:txBody>
      </p:sp>
      <p:sp>
        <p:nvSpPr>
          <p:cNvPr id="8" name="Rectangle 7">
            <a:extLst>
              <a:ext uri="{FF2B5EF4-FFF2-40B4-BE49-F238E27FC236}">
                <a16:creationId xmlns:a16="http://schemas.microsoft.com/office/drawing/2014/main" id="{852C624F-DAEC-4652-8B48-ED5432C7E073}"/>
              </a:ext>
            </a:extLst>
          </p:cNvPr>
          <p:cNvSpPr/>
          <p:nvPr/>
        </p:nvSpPr>
        <p:spPr>
          <a:xfrm>
            <a:off x="8274439" y="6392596"/>
            <a:ext cx="2685351" cy="246221"/>
          </a:xfrm>
          <a:prstGeom prst="rect">
            <a:avLst/>
          </a:prstGeom>
        </p:spPr>
        <p:txBody>
          <a:bodyPr wrap="none">
            <a:spAutoFit/>
          </a:bodyPr>
          <a:lstStyle/>
          <a:p>
            <a:r>
              <a:rPr lang="en-US" sz="1000" dirty="0">
                <a:latin typeface="Arial" panose="020B0604020202020204" pitchFamily="34" charset="0"/>
                <a:cs typeface="Arial" panose="020B0604020202020204" pitchFamily="34" charset="0"/>
              </a:rPr>
              <a:t>*References included in notes section below</a:t>
            </a:r>
            <a:endParaRPr lang="en-US" sz="1000" dirty="0"/>
          </a:p>
        </p:txBody>
      </p:sp>
      <p:graphicFrame>
        <p:nvGraphicFramePr>
          <p:cNvPr id="11" name="Table 10">
            <a:extLst>
              <a:ext uri="{FF2B5EF4-FFF2-40B4-BE49-F238E27FC236}">
                <a16:creationId xmlns:a16="http://schemas.microsoft.com/office/drawing/2014/main" id="{CC8D8802-BC11-4467-9B8C-BA12E2F9149F}"/>
              </a:ext>
            </a:extLst>
          </p:cNvPr>
          <p:cNvGraphicFramePr>
            <a:graphicFrameLocks noGrp="1"/>
          </p:cNvGraphicFramePr>
          <p:nvPr>
            <p:extLst>
              <p:ext uri="{D42A27DB-BD31-4B8C-83A1-F6EECF244321}">
                <p14:modId xmlns:p14="http://schemas.microsoft.com/office/powerpoint/2010/main" val="1002707782"/>
              </p:ext>
            </p:extLst>
          </p:nvPr>
        </p:nvGraphicFramePr>
        <p:xfrm>
          <a:off x="6174889" y="1760180"/>
          <a:ext cx="5186109" cy="4339650"/>
        </p:xfrm>
        <a:graphic>
          <a:graphicData uri="http://schemas.openxmlformats.org/drawingml/2006/table">
            <a:tbl>
              <a:tblPr firstRow="1" bandRow="1">
                <a:tableStyleId>{C083E6E3-FA7D-4D7B-A595-EF9225AFEA82}</a:tableStyleId>
              </a:tblPr>
              <a:tblGrid>
                <a:gridCol w="5186109">
                  <a:extLst>
                    <a:ext uri="{9D8B030D-6E8A-4147-A177-3AD203B41FA5}">
                      <a16:colId xmlns:a16="http://schemas.microsoft.com/office/drawing/2014/main" val="2057240433"/>
                    </a:ext>
                  </a:extLst>
                </a:gridCol>
              </a:tblGrid>
              <a:tr h="5228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Key unmet patient and caregiver needs around HF hospitalization and transitions of care</a:t>
                      </a:r>
                    </a:p>
                  </a:txBody>
                  <a:tcPr anchor="ctr"/>
                </a:tc>
                <a:extLst>
                  <a:ext uri="{0D108BD9-81ED-4DB2-BD59-A6C34878D82A}">
                    <a16:rowId xmlns:a16="http://schemas.microsoft.com/office/drawing/2014/main" val="991496589"/>
                  </a:ext>
                </a:extLst>
              </a:tr>
              <a:tr h="6535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dirty="0">
                          <a:solidFill>
                            <a:srgbClr val="FF0000"/>
                          </a:solidFill>
                          <a:latin typeface="Arial" panose="020B0604020202020204" pitchFamily="34" charset="0"/>
                          <a:cs typeface="Arial" panose="020B0604020202020204" pitchFamily="34" charset="0"/>
                        </a:rPr>
                        <a:t>Unmet Need: Patient-centered decision-mak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dirty="0">
                          <a:latin typeface="Arial" panose="020B0604020202020204" pitchFamily="34" charset="0"/>
                          <a:cs typeface="Arial" panose="020B0604020202020204" pitchFamily="34" charset="0"/>
                        </a:rPr>
                        <a:t>Focusing on patient-centered decision-making creates partnerships and alignment between patients, caregivers, and healthcare providers.</a:t>
                      </a:r>
                    </a:p>
                  </a:txBody>
                  <a:tcPr anchor="ctr"/>
                </a:tc>
                <a:extLst>
                  <a:ext uri="{0D108BD9-81ED-4DB2-BD59-A6C34878D82A}">
                    <a16:rowId xmlns:a16="http://schemas.microsoft.com/office/drawing/2014/main" val="3088156305"/>
                  </a:ext>
                </a:extLst>
              </a:tr>
              <a:tr h="836559">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Unmet Need: Empowering and supporting caregivers</a:t>
                      </a:r>
                      <a:br>
                        <a:rPr kumimoji="0" lang="en-US" sz="105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050" b="0" u="none" strike="noStrike" kern="1200" cap="none" spc="0" normalizeH="0" baseline="0" noProof="0" dirty="0">
                          <a:ln>
                            <a:noFill/>
                          </a:ln>
                          <a:effectLst/>
                          <a:uLnTx/>
                          <a:uFillTx/>
                          <a:latin typeface="Arial" panose="020B0604020202020204" pitchFamily="34" charset="0"/>
                          <a:cs typeface="Arial" panose="020B0604020202020204" pitchFamily="34" charset="0"/>
                        </a:rPr>
                        <a:t>Empowered caregivers are important in supporting patients through treatment decision-making, monitoring symptoms, and helping patients to successfully manage their Heart Failure.</a:t>
                      </a:r>
                    </a:p>
                  </a:txBody>
                  <a:tcPr anchor="ctr"/>
                </a:tc>
                <a:extLst>
                  <a:ext uri="{0D108BD9-81ED-4DB2-BD59-A6C34878D82A}">
                    <a16:rowId xmlns:a16="http://schemas.microsoft.com/office/drawing/2014/main" val="1003283123"/>
                  </a:ext>
                </a:extLst>
              </a:tr>
              <a:tr h="836559">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Unmet Need: Personalized education and support </a:t>
                      </a:r>
                      <a:br>
                        <a:rPr kumimoji="0" lang="en-US" sz="105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050" b="0" u="none" strike="noStrike" kern="1200" cap="none" spc="0" normalizeH="0" baseline="0" noProof="0" dirty="0">
                          <a:ln>
                            <a:noFill/>
                          </a:ln>
                          <a:effectLst/>
                          <a:uLnTx/>
                          <a:uFillTx/>
                          <a:latin typeface="Arial" panose="020B0604020202020204" pitchFamily="34" charset="0"/>
                          <a:cs typeface="Arial" panose="020B0604020202020204" pitchFamily="34" charset="0"/>
                        </a:rPr>
                        <a:t>Providing patients and caregivers with consistent education throughout their journey supports the development of activated patients and caregivers to control and manage their Heart Failure.</a:t>
                      </a:r>
                    </a:p>
                  </a:txBody>
                  <a:tcPr anchor="ctr"/>
                </a:tc>
                <a:extLst>
                  <a:ext uri="{0D108BD9-81ED-4DB2-BD59-A6C34878D82A}">
                    <a16:rowId xmlns:a16="http://schemas.microsoft.com/office/drawing/2014/main" val="2298636740"/>
                  </a:ext>
                </a:extLst>
              </a:tr>
              <a:tr h="653562">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dirty="0">
                          <a:solidFill>
                            <a:srgbClr val="FF0000"/>
                          </a:solidFill>
                          <a:latin typeface="Arial" panose="020B0604020202020204" pitchFamily="34" charset="0"/>
                          <a:cs typeface="Arial" panose="020B0604020202020204" pitchFamily="34" charset="0"/>
                        </a:rPr>
                        <a:t>Unmet Need: Symptom recognition and managem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dirty="0">
                          <a:latin typeface="Arial" panose="020B0604020202020204" pitchFamily="34" charset="0"/>
                          <a:cs typeface="Arial" panose="020B0604020202020204" pitchFamily="34" charset="0"/>
                        </a:rPr>
                        <a:t>Self-monitoring Heart Failure symptoms promotes confident and appropriate decisions of care. </a:t>
                      </a:r>
                    </a:p>
                  </a:txBody>
                  <a:tcPr anchor="ctr"/>
                </a:tc>
                <a:extLst>
                  <a:ext uri="{0D108BD9-81ED-4DB2-BD59-A6C34878D82A}">
                    <a16:rowId xmlns:a16="http://schemas.microsoft.com/office/drawing/2014/main" val="2850531587"/>
                  </a:ext>
                </a:extLst>
              </a:tr>
              <a:tr h="836559">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50" b="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Unmet Need: Coordination of care </a:t>
                      </a:r>
                      <a:br>
                        <a:rPr kumimoji="0" lang="en-US" sz="105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kumimoji="0" lang="en-US" sz="1050" b="0" u="none" strike="noStrike" kern="1200" cap="none" spc="0" normalizeH="0" baseline="0" noProof="0" dirty="0">
                          <a:ln>
                            <a:noFill/>
                          </a:ln>
                          <a:effectLst/>
                          <a:uLnTx/>
                          <a:uFillTx/>
                          <a:latin typeface="Arial" panose="020B0604020202020204" pitchFamily="34" charset="0"/>
                          <a:cs typeface="Arial" panose="020B0604020202020204" pitchFamily="34" charset="0"/>
                        </a:rPr>
                        <a:t>Coordinating care across care settings lessens the burden from patients to manage complex treatment plans and reduces the chance of mismanagement.</a:t>
                      </a:r>
                    </a:p>
                  </a:txBody>
                  <a:tcPr anchor="ctr"/>
                </a:tc>
                <a:extLst>
                  <a:ext uri="{0D108BD9-81ED-4DB2-BD59-A6C34878D82A}">
                    <a16:rowId xmlns:a16="http://schemas.microsoft.com/office/drawing/2014/main" val="1506903502"/>
                  </a:ext>
                </a:extLst>
              </a:tr>
            </a:tbl>
          </a:graphicData>
        </a:graphic>
      </p:graphicFrame>
      <p:sp>
        <p:nvSpPr>
          <p:cNvPr id="3" name="Rectangle 2">
            <a:extLst>
              <a:ext uri="{FF2B5EF4-FFF2-40B4-BE49-F238E27FC236}">
                <a16:creationId xmlns:a16="http://schemas.microsoft.com/office/drawing/2014/main" id="{8BFCD4ED-C582-4ECD-A5F7-0E29F1D4A621}"/>
              </a:ext>
            </a:extLst>
          </p:cNvPr>
          <p:cNvSpPr/>
          <p:nvPr/>
        </p:nvSpPr>
        <p:spPr>
          <a:xfrm>
            <a:off x="1088441" y="1794979"/>
            <a:ext cx="4744352" cy="4339650"/>
          </a:xfrm>
          <a:prstGeom prst="rect">
            <a:avLst/>
          </a:prstGeom>
          <a:ln w="38100">
            <a:solidFill>
              <a:schemeClr val="accent2"/>
            </a:solidFill>
            <a:prstDash val="sysDot"/>
          </a:ln>
        </p:spPr>
        <p:txBody>
          <a:bodyPr wrap="square">
            <a:spAutoFit/>
          </a:bodyPr>
          <a:lstStyle/>
          <a:p>
            <a:pPr lvl="0" algn="ctr"/>
            <a:r>
              <a:rPr lang="en-US" sz="1400" b="1" dirty="0">
                <a:solidFill>
                  <a:prstClr val="black"/>
                </a:solidFill>
                <a:latin typeface="Arial" panose="020B0604020202020204" pitchFamily="34" charset="0"/>
                <a:cs typeface="Arial" panose="020B0604020202020204" pitchFamily="34" charset="0"/>
              </a:rPr>
              <a:t>Multi-stakeholders drive efforts to elevate call to action to reduce preventable Heart Failure hospitalizations and readmissions</a:t>
            </a:r>
          </a:p>
          <a:p>
            <a:pPr lvl="0"/>
            <a:endParaRPr lang="en-US" sz="1200" dirty="0">
              <a:solidFill>
                <a:prstClr val="black"/>
              </a:solidFill>
            </a:endParaRPr>
          </a:p>
          <a:p>
            <a:pPr lvl="0"/>
            <a:r>
              <a:rPr lang="en-US" sz="1200" b="1" dirty="0">
                <a:solidFill>
                  <a:prstClr val="black"/>
                </a:solidFill>
                <a:latin typeface="Arial" panose="020B0604020202020204" pitchFamily="34" charset="0"/>
                <a:cs typeface="Arial" panose="020B0604020202020204" pitchFamily="34" charset="0"/>
              </a:rPr>
              <a:t>Objective</a:t>
            </a:r>
            <a:r>
              <a:rPr lang="en-US" sz="1100" dirty="0">
                <a:solidFill>
                  <a:prstClr val="black"/>
                </a:solidFill>
                <a:latin typeface="Arial" panose="020B0604020202020204" pitchFamily="34" charset="0"/>
                <a:cs typeface="Arial" panose="020B0604020202020204" pitchFamily="34" charset="0"/>
              </a:rPr>
              <a:t>: </a:t>
            </a:r>
          </a:p>
          <a:p>
            <a:pPr marL="171450" lvl="0" indent="-171450">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The Heart Failure Charter, which was built by advocates, for advocates, represents the community’s collective shared values and perspective to minimize the number of hospitalizations and preventative readmissions by targeting key unmet needs across the continuum of care where intervention and educational efforts can improve overall patient outcomes</a:t>
            </a:r>
          </a:p>
          <a:p>
            <a:pPr lvl="0"/>
            <a:endParaRPr lang="en-US" sz="1100" dirty="0">
              <a:solidFill>
                <a:prstClr val="black"/>
              </a:solidFill>
              <a:latin typeface="Arial" panose="020B0604020202020204" pitchFamily="34" charset="0"/>
              <a:cs typeface="Arial" panose="020B0604020202020204" pitchFamily="34" charset="0"/>
            </a:endParaRPr>
          </a:p>
          <a:p>
            <a:pPr lvl="0"/>
            <a:r>
              <a:rPr lang="en-US" sz="1200" b="1" dirty="0">
                <a:solidFill>
                  <a:prstClr val="black"/>
                </a:solidFill>
                <a:latin typeface="Arial" panose="020B0604020202020204" pitchFamily="34" charset="0"/>
                <a:cs typeface="Arial" panose="020B0604020202020204" pitchFamily="34" charset="0"/>
              </a:rPr>
              <a:t>Significance</a:t>
            </a:r>
            <a:r>
              <a:rPr lang="en-US" sz="1100" dirty="0">
                <a:solidFill>
                  <a:prstClr val="black"/>
                </a:solidFill>
                <a:latin typeface="Arial" panose="020B0604020202020204" pitchFamily="34" charset="0"/>
                <a:cs typeface="Arial" panose="020B0604020202020204" pitchFamily="34" charset="0"/>
              </a:rPr>
              <a:t>: </a:t>
            </a:r>
          </a:p>
          <a:p>
            <a:pPr marL="171450" lvl="0" indent="-171450">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The American Heart Association estimates that one in four patients with Heart Failure are re-hospitalized within a month of their initial hospitalization.* Many of these hospitalizations are preventable and increase the burden on patients, caregivers, and the healthcare system.</a:t>
            </a:r>
            <a:br>
              <a:rPr lang="en-US" sz="1100" dirty="0">
                <a:solidFill>
                  <a:prstClr val="black"/>
                </a:solidFill>
                <a:latin typeface="Arial" panose="020B0604020202020204" pitchFamily="34" charset="0"/>
                <a:cs typeface="Arial" panose="020B0604020202020204" pitchFamily="34" charset="0"/>
              </a:rPr>
            </a:br>
            <a:endParaRPr lang="en-US" sz="1100" dirty="0">
              <a:solidFill>
                <a:prstClr val="black"/>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100" dirty="0">
                <a:solidFill>
                  <a:prstClr val="black"/>
                </a:solidFill>
                <a:latin typeface="Arial" panose="020B0604020202020204" pitchFamily="34" charset="0"/>
                <a:cs typeface="Arial" panose="020B0604020202020204" pitchFamily="34" charset="0"/>
              </a:rPr>
              <a:t>With this in mind, 14 advocates from 11 patient, caregiver, and professional groups collectively identified patient and caregiver challenges to optimal transitions of care and committed to address unmet needs Heart Failure patients face during the journey from home, to ER, to hospital, to post-care, and to ongoing monitoring.</a:t>
            </a:r>
          </a:p>
        </p:txBody>
      </p:sp>
      <p:sp>
        <p:nvSpPr>
          <p:cNvPr id="5" name="TextBox 4"/>
          <p:cNvSpPr txBox="1"/>
          <p:nvPr/>
        </p:nvSpPr>
        <p:spPr>
          <a:xfrm>
            <a:off x="170792" y="776292"/>
            <a:ext cx="11830707" cy="738664"/>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The below messages are based on language within the Charter itself, and can be used to support communications (e.g., in-person conversations, website, social posts, newsletters, etc.) about the Charter with your constituents and key stakeholders. </a:t>
            </a:r>
          </a:p>
          <a:p>
            <a:pPr algn="ctr"/>
            <a:r>
              <a:rPr lang="en-US" sz="1400" b="1" dirty="0">
                <a:latin typeface="Arial" panose="020B0604020202020204" pitchFamily="34" charset="0"/>
                <a:cs typeface="Arial" panose="020B0604020202020204" pitchFamily="34" charset="0"/>
              </a:rPr>
              <a:t>Each organization should adapt as desired to align with their audience, voice, and identity. </a:t>
            </a:r>
          </a:p>
        </p:txBody>
      </p:sp>
    </p:spTree>
    <p:extLst>
      <p:ext uri="{BB962C8B-B14F-4D97-AF65-F5344CB8AC3E}">
        <p14:creationId xmlns:p14="http://schemas.microsoft.com/office/powerpoint/2010/main" val="21141291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6AB96C9-6A0B-40B5-800B-B60AA1C849A9}"/>
              </a:ext>
            </a:extLst>
          </p:cNvPr>
          <p:cNvSpPr>
            <a:spLocks noGrp="1"/>
          </p:cNvSpPr>
          <p:nvPr>
            <p:ph type="sldNum" sz="quarter" idx="4"/>
          </p:nvPr>
        </p:nvSpPr>
        <p:spPr/>
        <p:txBody>
          <a:bodyPr/>
          <a:lstStyle/>
          <a:p>
            <a:fld id="{5D7764B0-5D4F-C64A-A292-F7BE8AAEF083}" type="slidenum">
              <a:rPr lang="en-US" smtClean="0"/>
              <a:pPr/>
              <a:t>3</a:t>
            </a:fld>
            <a:endParaRPr lang="en-US" dirty="0"/>
          </a:p>
        </p:txBody>
      </p:sp>
      <p:sp>
        <p:nvSpPr>
          <p:cNvPr id="6" name="Title 1">
            <a:extLst>
              <a:ext uri="{FF2B5EF4-FFF2-40B4-BE49-F238E27FC236}">
                <a16:creationId xmlns:a16="http://schemas.microsoft.com/office/drawing/2014/main" id="{28A3BBE5-BF10-4862-AA7B-41B779E4D7ED}"/>
              </a:ext>
            </a:extLst>
          </p:cNvPr>
          <p:cNvSpPr txBox="1">
            <a:spLocks/>
          </p:cNvSpPr>
          <p:nvPr/>
        </p:nvSpPr>
        <p:spPr>
          <a:xfrm>
            <a:off x="170793" y="278332"/>
            <a:ext cx="10515600" cy="70046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000" b="1" i="0" kern="1200">
                <a:solidFill>
                  <a:srgbClr val="94175D"/>
                </a:solidFill>
                <a:latin typeface="Arial" charset="0"/>
                <a:ea typeface="Arial" charset="0"/>
                <a:cs typeface="Arial" charset="0"/>
              </a:defRPr>
            </a:lvl1pPr>
          </a:lstStyle>
          <a:p>
            <a:r>
              <a:rPr lang="en-US" sz="2800" dirty="0">
                <a:solidFill>
                  <a:schemeClr val="tx1"/>
                </a:solidFill>
                <a:latin typeface="Arial" panose="020B0604020202020204" pitchFamily="34" charset="0"/>
                <a:cs typeface="Arial" panose="020B0604020202020204" pitchFamily="34" charset="0"/>
              </a:rPr>
              <a:t>Synchronized Launch | Same timing, same hashtag</a:t>
            </a:r>
            <a:endParaRPr lang="en-US" b="0" dirty="0">
              <a:solidFill>
                <a:schemeClr val="tx2"/>
              </a:solidFill>
            </a:endParaRPr>
          </a:p>
        </p:txBody>
      </p:sp>
      <p:sp>
        <p:nvSpPr>
          <p:cNvPr id="8" name="Rectangle 7">
            <a:extLst>
              <a:ext uri="{FF2B5EF4-FFF2-40B4-BE49-F238E27FC236}">
                <a16:creationId xmlns:a16="http://schemas.microsoft.com/office/drawing/2014/main" id="{D98D6D92-3171-4AA9-9037-1768580C8E7A}"/>
              </a:ext>
            </a:extLst>
          </p:cNvPr>
          <p:cNvSpPr/>
          <p:nvPr/>
        </p:nvSpPr>
        <p:spPr>
          <a:xfrm>
            <a:off x="399743" y="2039553"/>
            <a:ext cx="11349803" cy="523220"/>
          </a:xfrm>
          <a:prstGeom prst="rect">
            <a:avLst/>
          </a:prstGeom>
        </p:spPr>
        <p:txBody>
          <a:bodyPr wrap="square">
            <a:spAutoFit/>
          </a:bodyPr>
          <a:lstStyle/>
          <a:p>
            <a:pPr marR="0" lvl="0">
              <a:spcBef>
                <a:spcPts val="0"/>
              </a:spcBef>
              <a:spcAft>
                <a:spcPts val="0"/>
              </a:spcAft>
            </a:pPr>
            <a:r>
              <a:rPr lang="en-US" sz="1400" b="1" dirty="0">
                <a:latin typeface="Arial" panose="020B0604020202020204" pitchFamily="34" charset="0"/>
                <a:ea typeface="Times New Roman" panose="02020603050405020304" pitchFamily="18" charset="0"/>
              </a:rPr>
              <a:t>Recommendation</a:t>
            </a:r>
            <a:r>
              <a:rPr lang="en-US" sz="1400" dirty="0">
                <a:latin typeface="Arial" panose="020B0604020202020204" pitchFamily="34" charset="0"/>
                <a:ea typeface="Times New Roman" panose="02020603050405020304" pitchFamily="18" charset="0"/>
              </a:rPr>
              <a:t>: Collectively launch the HF Charter together on </a:t>
            </a:r>
            <a:r>
              <a:rPr lang="en-US" sz="1400" b="1" dirty="0">
                <a:latin typeface="Arial" panose="020B0604020202020204" pitchFamily="34" charset="0"/>
                <a:ea typeface="Times New Roman" panose="02020603050405020304" pitchFamily="18" charset="0"/>
              </a:rPr>
              <a:t>Thursday, November 14</a:t>
            </a:r>
            <a:r>
              <a:rPr lang="en-US" sz="1400" b="1" baseline="30000" dirty="0">
                <a:latin typeface="Arial" panose="020B0604020202020204" pitchFamily="34" charset="0"/>
                <a:ea typeface="Times New Roman" panose="02020603050405020304" pitchFamily="18" charset="0"/>
              </a:rPr>
              <a:t>th</a:t>
            </a:r>
            <a:r>
              <a:rPr lang="en-US" sz="1400" b="1" dirty="0">
                <a:latin typeface="Arial" panose="020B0604020202020204" pitchFamily="34" charset="0"/>
                <a:ea typeface="Times New Roman" panose="02020603050405020304" pitchFamily="18" charset="0"/>
              </a:rPr>
              <a:t> at 12:00 pm Eastern Time* </a:t>
            </a:r>
            <a:r>
              <a:rPr lang="en-US" sz="1400" dirty="0">
                <a:latin typeface="Arial" panose="020B0604020202020204" pitchFamily="34" charset="0"/>
                <a:ea typeface="Times New Roman" panose="02020603050405020304" pitchFamily="18" charset="0"/>
              </a:rPr>
              <a:t>leading up to SS19, allowing the resource to be referenced to during on-site interactions with stakeholders throughout SS19. </a:t>
            </a:r>
            <a:endParaRPr lang="en-US" dirty="0">
              <a:latin typeface="Calibri" panose="020F0502020204030204" pitchFamily="34" charset="0"/>
              <a:ea typeface="Calibri" panose="020F0502020204030204" pitchFamily="34" charset="0"/>
            </a:endParaRPr>
          </a:p>
        </p:txBody>
      </p:sp>
      <p:sp>
        <p:nvSpPr>
          <p:cNvPr id="9" name="Rectangle 8">
            <a:extLst>
              <a:ext uri="{FF2B5EF4-FFF2-40B4-BE49-F238E27FC236}">
                <a16:creationId xmlns:a16="http://schemas.microsoft.com/office/drawing/2014/main" id="{8EEF5032-29FA-49D1-A161-3E7B2CD03FCD}"/>
              </a:ext>
            </a:extLst>
          </p:cNvPr>
          <p:cNvSpPr/>
          <p:nvPr/>
        </p:nvSpPr>
        <p:spPr>
          <a:xfrm>
            <a:off x="399744" y="1175539"/>
            <a:ext cx="11349803" cy="738664"/>
          </a:xfrm>
          <a:prstGeom prst="rect">
            <a:avLst/>
          </a:prstGeom>
        </p:spPr>
        <p:txBody>
          <a:bodyPr wrap="square">
            <a:spAutoFit/>
          </a:bodyPr>
          <a:lstStyle/>
          <a:p>
            <a:pPr lvl="0"/>
            <a:r>
              <a:rPr lang="en-US" sz="1400" b="1" dirty="0">
                <a:solidFill>
                  <a:srgbClr val="000000"/>
                </a:solidFill>
                <a:latin typeface="Arial" panose="020B0604020202020204" pitchFamily="34" charset="0"/>
                <a:ea typeface="Calibri" panose="020F0502020204030204" pitchFamily="34" charset="0"/>
              </a:rPr>
              <a:t>Opportunity</a:t>
            </a:r>
            <a:r>
              <a:rPr lang="en-US" sz="1400" dirty="0">
                <a:solidFill>
                  <a:srgbClr val="000000"/>
                </a:solidFill>
                <a:latin typeface="Arial" panose="020B0604020202020204" pitchFamily="34" charset="0"/>
                <a:ea typeface="Calibri" panose="020F0502020204030204" pitchFamily="34" charset="0"/>
              </a:rPr>
              <a:t>: The upcoming AHA Scientific Sessions 2019 is the next natural, high-profile opportunity to effectively reach a wide range of interested stakeholders while they are actively seeking information to help improve patient care. The Charter will be mentioned during the "Rise Above Heart Failure" event on Sunday, November 17</a:t>
            </a:r>
            <a:r>
              <a:rPr lang="en-US" sz="1400" baseline="30000" dirty="0">
                <a:solidFill>
                  <a:srgbClr val="000000"/>
                </a:solidFill>
                <a:latin typeface="Arial" panose="020B0604020202020204" pitchFamily="34" charset="0"/>
                <a:ea typeface="Calibri" panose="020F0502020204030204" pitchFamily="34" charset="0"/>
              </a:rPr>
              <a:t>th</a:t>
            </a:r>
            <a:r>
              <a:rPr lang="en-US" sz="1400" dirty="0">
                <a:solidFill>
                  <a:srgbClr val="000000"/>
                </a:solidFill>
                <a:latin typeface="Arial" panose="020B0604020202020204" pitchFamily="34" charset="0"/>
                <a:ea typeface="Calibri" panose="020F0502020204030204" pitchFamily="34" charset="0"/>
              </a:rPr>
              <a:t>. </a:t>
            </a:r>
            <a:endParaRPr lang="en-US" dirty="0">
              <a:solidFill>
                <a:srgbClr val="000000"/>
              </a:solidFill>
              <a:latin typeface="Calibri" panose="020F0502020204030204" pitchFamily="34" charset="0"/>
              <a:ea typeface="Calibri" panose="020F0502020204030204" pitchFamily="34" charset="0"/>
            </a:endParaRPr>
          </a:p>
        </p:txBody>
      </p:sp>
      <p:sp>
        <p:nvSpPr>
          <p:cNvPr id="10" name="Rectangle 9">
            <a:extLst>
              <a:ext uri="{FF2B5EF4-FFF2-40B4-BE49-F238E27FC236}">
                <a16:creationId xmlns:a16="http://schemas.microsoft.com/office/drawing/2014/main" id="{042963C3-949B-4A9D-8DB7-87F48A233D29}"/>
              </a:ext>
            </a:extLst>
          </p:cNvPr>
          <p:cNvSpPr/>
          <p:nvPr/>
        </p:nvSpPr>
        <p:spPr>
          <a:xfrm>
            <a:off x="4891920" y="2925622"/>
            <a:ext cx="5613745" cy="2739211"/>
          </a:xfrm>
          <a:prstGeom prst="rect">
            <a:avLst/>
          </a:prstGeom>
        </p:spPr>
        <p:txBody>
          <a:bodyPr wrap="square">
            <a:spAutoFit/>
          </a:bodyPr>
          <a:lstStyle/>
          <a:p>
            <a:pPr lvl="0" algn="ctr"/>
            <a:r>
              <a:rPr lang="en-US" sz="2400" b="1" dirty="0">
                <a:solidFill>
                  <a:schemeClr val="accent2"/>
                </a:solidFill>
                <a:latin typeface="Arial" panose="020B0604020202020204" pitchFamily="34" charset="0"/>
                <a:cs typeface="Arial" panose="020B0604020202020204" pitchFamily="34" charset="0"/>
              </a:rPr>
              <a:t>#</a:t>
            </a:r>
            <a:r>
              <a:rPr lang="en-US" sz="2400" b="1" dirty="0" err="1">
                <a:solidFill>
                  <a:schemeClr val="accent2"/>
                </a:solidFill>
                <a:latin typeface="Arial" panose="020B0604020202020204" pitchFamily="34" charset="0"/>
                <a:cs typeface="Arial" panose="020B0604020202020204" pitchFamily="34" charset="0"/>
              </a:rPr>
              <a:t>changingHFtogether</a:t>
            </a:r>
            <a:endParaRPr lang="en-US" sz="2400" b="1" dirty="0">
              <a:solidFill>
                <a:srgbClr val="000000"/>
              </a:solidFill>
              <a:latin typeface="Arial" panose="020B0604020202020204" pitchFamily="34" charset="0"/>
              <a:cs typeface="Arial" panose="020B0604020202020204" pitchFamily="34" charset="0"/>
            </a:endParaRPr>
          </a:p>
          <a:p>
            <a:pPr marL="285750" lvl="0" indent="-285750">
              <a:spcAft>
                <a:spcPts val="1200"/>
              </a:spcAft>
              <a:buFont typeface="Wingdings" panose="05000000000000000000" pitchFamily="2" charset="2"/>
              <a:buChar char="ü"/>
            </a:pPr>
            <a:r>
              <a:rPr lang="en-US" sz="1600" dirty="0">
                <a:solidFill>
                  <a:srgbClr val="000000"/>
                </a:solidFill>
                <a:latin typeface="Arial" panose="020B0604020202020204" pitchFamily="34" charset="0"/>
                <a:cs typeface="Arial" panose="020B0604020202020204" pitchFamily="34" charset="0"/>
              </a:rPr>
              <a:t>Represents the cardiovascular community’s commitment to ensuring patients, caregivers, and their family have the tools and resources they need to successfully navigate the Heart Failure hospitalization journey. </a:t>
            </a:r>
          </a:p>
          <a:p>
            <a:pPr marL="285750" lvl="0" indent="-285750">
              <a:spcAft>
                <a:spcPts val="1200"/>
              </a:spcAft>
              <a:buFont typeface="Wingdings" panose="05000000000000000000" pitchFamily="2" charset="2"/>
              <a:buChar char="ü"/>
            </a:pPr>
            <a:r>
              <a:rPr lang="en-US" sz="1600" dirty="0">
                <a:solidFill>
                  <a:srgbClr val="000000"/>
                </a:solidFill>
                <a:latin typeface="Arial" panose="020B0604020202020204" pitchFamily="34" charset="0"/>
                <a:cs typeface="Arial" panose="020B0604020202020204" pitchFamily="34" charset="0"/>
              </a:rPr>
              <a:t>Reaffirm the collective impact approach of the </a:t>
            </a:r>
            <a:br>
              <a:rPr lang="en-US" sz="1600" dirty="0">
                <a:solidFill>
                  <a:srgbClr val="000000"/>
                </a:solidFill>
                <a:latin typeface="Arial" panose="020B0604020202020204" pitchFamily="34" charset="0"/>
                <a:cs typeface="Arial" panose="020B0604020202020204" pitchFamily="34" charset="0"/>
              </a:rPr>
            </a:br>
            <a:r>
              <a:rPr lang="en-US" sz="1600" dirty="0">
                <a:solidFill>
                  <a:srgbClr val="000000"/>
                </a:solidFill>
                <a:latin typeface="Arial" panose="020B0604020202020204" pitchFamily="34" charset="0"/>
                <a:cs typeface="Arial" panose="020B0604020202020204" pitchFamily="34" charset="0"/>
              </a:rPr>
              <a:t>Multi-stakeholder Summit and the importance of coming together optimize the transition of care</a:t>
            </a:r>
          </a:p>
          <a:p>
            <a:pPr marL="285750" lvl="0" indent="-285750">
              <a:spcAft>
                <a:spcPts val="1200"/>
              </a:spcAft>
              <a:buFont typeface="Wingdings" panose="05000000000000000000" pitchFamily="2" charset="2"/>
              <a:buChar char="ü"/>
            </a:pPr>
            <a:r>
              <a:rPr lang="en-US" sz="1600" dirty="0">
                <a:solidFill>
                  <a:srgbClr val="000000"/>
                </a:solidFill>
                <a:latin typeface="Arial" panose="020B0604020202020204" pitchFamily="34" charset="0"/>
                <a:cs typeface="Arial" panose="020B0604020202020204" pitchFamily="34" charset="0"/>
              </a:rPr>
              <a:t>Unique #hashtag allows us to measure impact</a:t>
            </a:r>
          </a:p>
        </p:txBody>
      </p:sp>
      <p:pic>
        <p:nvPicPr>
          <p:cNvPr id="11" name="Picture 2" descr="Image result for collective impact">
            <a:extLst>
              <a:ext uri="{FF2B5EF4-FFF2-40B4-BE49-F238E27FC236}">
                <a16:creationId xmlns:a16="http://schemas.microsoft.com/office/drawing/2014/main" id="{114FAD87-60C9-4662-8803-D44142B0AA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3596" y="2930978"/>
            <a:ext cx="3008338" cy="3008338"/>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464737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3E032F5-BD21-4B92-938C-B3136D6E6608}"/>
              </a:ext>
            </a:extLst>
          </p:cNvPr>
          <p:cNvSpPr>
            <a:spLocks noGrp="1"/>
          </p:cNvSpPr>
          <p:nvPr>
            <p:ph type="sldNum" sz="quarter" idx="4"/>
          </p:nvPr>
        </p:nvSpPr>
        <p:spPr/>
        <p:txBody>
          <a:bodyPr/>
          <a:lstStyle/>
          <a:p>
            <a:fld id="{5D7764B0-5D4F-C64A-A292-F7BE8AAEF083}" type="slidenum">
              <a:rPr lang="en-US" smtClean="0"/>
              <a:pPr/>
              <a:t>4</a:t>
            </a:fld>
            <a:endParaRPr lang="en-US" dirty="0"/>
          </a:p>
        </p:txBody>
      </p:sp>
      <p:grpSp>
        <p:nvGrpSpPr>
          <p:cNvPr id="14" name="Group 13">
            <a:extLst>
              <a:ext uri="{FF2B5EF4-FFF2-40B4-BE49-F238E27FC236}">
                <a16:creationId xmlns:a16="http://schemas.microsoft.com/office/drawing/2014/main" id="{0BA49BF5-7723-4B91-83DF-45E8F5814159}"/>
              </a:ext>
            </a:extLst>
          </p:cNvPr>
          <p:cNvGrpSpPr/>
          <p:nvPr/>
        </p:nvGrpSpPr>
        <p:grpSpPr>
          <a:xfrm>
            <a:off x="7715354" y="1346110"/>
            <a:ext cx="355256" cy="390323"/>
            <a:chOff x="2171700" y="1574800"/>
            <a:chExt cx="739776" cy="812800"/>
          </a:xfrm>
          <a:solidFill>
            <a:sysClr val="window" lastClr="FFFFFF"/>
          </a:solidFill>
        </p:grpSpPr>
        <p:sp>
          <p:nvSpPr>
            <p:cNvPr id="15" name="Freeform 33">
              <a:extLst>
                <a:ext uri="{FF2B5EF4-FFF2-40B4-BE49-F238E27FC236}">
                  <a16:creationId xmlns:a16="http://schemas.microsoft.com/office/drawing/2014/main" id="{E4C0565B-729B-406D-AEEC-123C05931FBF}"/>
                </a:ext>
              </a:extLst>
            </p:cNvPr>
            <p:cNvSpPr>
              <a:spLocks noEditPoints="1"/>
            </p:cNvSpPr>
            <p:nvPr/>
          </p:nvSpPr>
          <p:spPr bwMode="auto">
            <a:xfrm>
              <a:off x="2292350" y="1700213"/>
              <a:ext cx="498475" cy="687387"/>
            </a:xfrm>
            <a:custGeom>
              <a:avLst/>
              <a:gdLst>
                <a:gd name="T0" fmla="*/ 813 w 2197"/>
                <a:gd name="T1" fmla="*/ 324 h 3032"/>
                <a:gd name="T2" fmla="*/ 519 w 2197"/>
                <a:gd name="T3" fmla="*/ 505 h 3032"/>
                <a:gd name="T4" fmla="*/ 329 w 2197"/>
                <a:gd name="T5" fmla="*/ 783 h 3032"/>
                <a:gd name="T6" fmla="*/ 281 w 2197"/>
                <a:gd name="T7" fmla="*/ 1120 h 3032"/>
                <a:gd name="T8" fmla="*/ 340 w 2197"/>
                <a:gd name="T9" fmla="*/ 1390 h 3032"/>
                <a:gd name="T10" fmla="*/ 449 w 2197"/>
                <a:gd name="T11" fmla="*/ 1594 h 3032"/>
                <a:gd name="T12" fmla="*/ 575 w 2197"/>
                <a:gd name="T13" fmla="*/ 1783 h 3032"/>
                <a:gd name="T14" fmla="*/ 653 w 2197"/>
                <a:gd name="T15" fmla="*/ 1996 h 3032"/>
                <a:gd name="T16" fmla="*/ 700 w 2197"/>
                <a:gd name="T17" fmla="*/ 2142 h 3032"/>
                <a:gd name="T18" fmla="*/ 1457 w 2197"/>
                <a:gd name="T19" fmla="*/ 2178 h 3032"/>
                <a:gd name="T20" fmla="*/ 1539 w 2197"/>
                <a:gd name="T21" fmla="*/ 2071 h 3032"/>
                <a:gd name="T22" fmla="*/ 1581 w 2197"/>
                <a:gd name="T23" fmla="*/ 1864 h 3032"/>
                <a:gd name="T24" fmla="*/ 1700 w 2197"/>
                <a:gd name="T25" fmla="*/ 1666 h 3032"/>
                <a:gd name="T26" fmla="*/ 1817 w 2197"/>
                <a:gd name="T27" fmla="*/ 1478 h 3032"/>
                <a:gd name="T28" fmla="*/ 1902 w 2197"/>
                <a:gd name="T29" fmla="*/ 1238 h 3032"/>
                <a:gd name="T30" fmla="*/ 1907 w 2197"/>
                <a:gd name="T31" fmla="*/ 915 h 3032"/>
                <a:gd name="T32" fmla="*/ 1769 w 2197"/>
                <a:gd name="T33" fmla="*/ 606 h 3032"/>
                <a:gd name="T34" fmla="*/ 1513 w 2197"/>
                <a:gd name="T35" fmla="*/ 382 h 3032"/>
                <a:gd name="T36" fmla="*/ 1174 w 2197"/>
                <a:gd name="T37" fmla="*/ 279 h 3032"/>
                <a:gd name="T38" fmla="*/ 1362 w 2197"/>
                <a:gd name="T39" fmla="*/ 32 h 3032"/>
                <a:gd name="T40" fmla="*/ 1747 w 2197"/>
                <a:gd name="T41" fmla="*/ 204 h 3032"/>
                <a:gd name="T42" fmla="*/ 2033 w 2197"/>
                <a:gd name="T43" fmla="*/ 499 h 3032"/>
                <a:gd name="T44" fmla="*/ 2182 w 2197"/>
                <a:gd name="T45" fmla="*/ 883 h 3032"/>
                <a:gd name="T46" fmla="*/ 2180 w 2197"/>
                <a:gd name="T47" fmla="*/ 1263 h 3032"/>
                <a:gd name="T48" fmla="*/ 2095 w 2197"/>
                <a:gd name="T49" fmla="*/ 1542 h 3032"/>
                <a:gd name="T50" fmla="*/ 1977 w 2197"/>
                <a:gd name="T51" fmla="*/ 1752 h 3032"/>
                <a:gd name="T52" fmla="*/ 1857 w 2197"/>
                <a:gd name="T53" fmla="*/ 1933 h 3032"/>
                <a:gd name="T54" fmla="*/ 1816 w 2197"/>
                <a:gd name="T55" fmla="*/ 2095 h 3032"/>
                <a:gd name="T56" fmla="*/ 1702 w 2197"/>
                <a:gd name="T57" fmla="*/ 2328 h 3032"/>
                <a:gd name="T58" fmla="*/ 1611 w 2197"/>
                <a:gd name="T59" fmla="*/ 2485 h 3032"/>
                <a:gd name="T60" fmla="*/ 1603 w 2197"/>
                <a:gd name="T61" fmla="*/ 2631 h 3032"/>
                <a:gd name="T62" fmla="*/ 1599 w 2197"/>
                <a:gd name="T63" fmla="*/ 2699 h 3032"/>
                <a:gd name="T64" fmla="*/ 1566 w 2197"/>
                <a:gd name="T65" fmla="*/ 2789 h 3032"/>
                <a:gd name="T66" fmla="*/ 1452 w 2197"/>
                <a:gd name="T67" fmla="*/ 2888 h 3032"/>
                <a:gd name="T68" fmla="*/ 1283 w 2197"/>
                <a:gd name="T69" fmla="*/ 3010 h 3032"/>
                <a:gd name="T70" fmla="*/ 965 w 2197"/>
                <a:gd name="T71" fmla="*/ 3030 h 3032"/>
                <a:gd name="T72" fmla="*/ 825 w 2197"/>
                <a:gd name="T73" fmla="*/ 2922 h 3032"/>
                <a:gd name="T74" fmla="*/ 657 w 2197"/>
                <a:gd name="T75" fmla="*/ 2823 h 3032"/>
                <a:gd name="T76" fmla="*/ 602 w 2197"/>
                <a:gd name="T77" fmla="*/ 2718 h 3032"/>
                <a:gd name="T78" fmla="*/ 597 w 2197"/>
                <a:gd name="T79" fmla="*/ 2671 h 3032"/>
                <a:gd name="T80" fmla="*/ 590 w 2197"/>
                <a:gd name="T81" fmla="*/ 2546 h 3032"/>
                <a:gd name="T82" fmla="*/ 582 w 2197"/>
                <a:gd name="T83" fmla="*/ 2406 h 3032"/>
                <a:gd name="T84" fmla="*/ 408 w 2197"/>
                <a:gd name="T85" fmla="*/ 2193 h 3032"/>
                <a:gd name="T86" fmla="*/ 368 w 2197"/>
                <a:gd name="T87" fmla="*/ 1991 h 3032"/>
                <a:gd name="T88" fmla="*/ 268 w 2197"/>
                <a:gd name="T89" fmla="*/ 1821 h 3032"/>
                <a:gd name="T90" fmla="*/ 149 w 2197"/>
                <a:gd name="T91" fmla="*/ 1633 h 3032"/>
                <a:gd name="T92" fmla="*/ 45 w 2197"/>
                <a:gd name="T93" fmla="*/ 1384 h 3032"/>
                <a:gd name="T94" fmla="*/ 0 w 2197"/>
                <a:gd name="T95" fmla="*/ 1054 h 3032"/>
                <a:gd name="T96" fmla="*/ 87 w 2197"/>
                <a:gd name="T97" fmla="*/ 644 h 3032"/>
                <a:gd name="T98" fmla="*/ 323 w 2197"/>
                <a:gd name="T99" fmla="*/ 310 h 3032"/>
                <a:gd name="T100" fmla="*/ 672 w 2197"/>
                <a:gd name="T101" fmla="*/ 83 h 3032"/>
                <a:gd name="T102" fmla="*/ 1099 w 2197"/>
                <a:gd name="T103" fmla="*/ 0 h 3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7" h="3032">
                  <a:moveTo>
                    <a:pt x="1099" y="276"/>
                  </a:moveTo>
                  <a:lnTo>
                    <a:pt x="1024" y="279"/>
                  </a:lnTo>
                  <a:lnTo>
                    <a:pt x="951" y="288"/>
                  </a:lnTo>
                  <a:lnTo>
                    <a:pt x="881" y="304"/>
                  </a:lnTo>
                  <a:lnTo>
                    <a:pt x="813" y="324"/>
                  </a:lnTo>
                  <a:lnTo>
                    <a:pt x="747" y="352"/>
                  </a:lnTo>
                  <a:lnTo>
                    <a:pt x="685" y="383"/>
                  </a:lnTo>
                  <a:lnTo>
                    <a:pt x="626" y="419"/>
                  </a:lnTo>
                  <a:lnTo>
                    <a:pt x="571" y="460"/>
                  </a:lnTo>
                  <a:lnTo>
                    <a:pt x="519" y="505"/>
                  </a:lnTo>
                  <a:lnTo>
                    <a:pt x="471" y="553"/>
                  </a:lnTo>
                  <a:lnTo>
                    <a:pt x="429" y="606"/>
                  </a:lnTo>
                  <a:lnTo>
                    <a:pt x="391" y="662"/>
                  </a:lnTo>
                  <a:lnTo>
                    <a:pt x="358" y="721"/>
                  </a:lnTo>
                  <a:lnTo>
                    <a:pt x="329" y="783"/>
                  </a:lnTo>
                  <a:lnTo>
                    <a:pt x="308" y="848"/>
                  </a:lnTo>
                  <a:lnTo>
                    <a:pt x="292" y="915"/>
                  </a:lnTo>
                  <a:lnTo>
                    <a:pt x="282" y="983"/>
                  </a:lnTo>
                  <a:lnTo>
                    <a:pt x="278" y="1054"/>
                  </a:lnTo>
                  <a:lnTo>
                    <a:pt x="281" y="1120"/>
                  </a:lnTo>
                  <a:lnTo>
                    <a:pt x="286" y="1181"/>
                  </a:lnTo>
                  <a:lnTo>
                    <a:pt x="295" y="1238"/>
                  </a:lnTo>
                  <a:lnTo>
                    <a:pt x="308" y="1292"/>
                  </a:lnTo>
                  <a:lnTo>
                    <a:pt x="323" y="1343"/>
                  </a:lnTo>
                  <a:lnTo>
                    <a:pt x="340" y="1390"/>
                  </a:lnTo>
                  <a:lnTo>
                    <a:pt x="359" y="1435"/>
                  </a:lnTo>
                  <a:lnTo>
                    <a:pt x="380" y="1478"/>
                  </a:lnTo>
                  <a:lnTo>
                    <a:pt x="402" y="1518"/>
                  </a:lnTo>
                  <a:lnTo>
                    <a:pt x="426" y="1557"/>
                  </a:lnTo>
                  <a:lnTo>
                    <a:pt x="449" y="1594"/>
                  </a:lnTo>
                  <a:lnTo>
                    <a:pt x="474" y="1630"/>
                  </a:lnTo>
                  <a:lnTo>
                    <a:pt x="496" y="1665"/>
                  </a:lnTo>
                  <a:lnTo>
                    <a:pt x="523" y="1704"/>
                  </a:lnTo>
                  <a:lnTo>
                    <a:pt x="550" y="1744"/>
                  </a:lnTo>
                  <a:lnTo>
                    <a:pt x="575" y="1783"/>
                  </a:lnTo>
                  <a:lnTo>
                    <a:pt x="597" y="1823"/>
                  </a:lnTo>
                  <a:lnTo>
                    <a:pt x="617" y="1864"/>
                  </a:lnTo>
                  <a:lnTo>
                    <a:pt x="632" y="1906"/>
                  </a:lnTo>
                  <a:lnTo>
                    <a:pt x="645" y="1950"/>
                  </a:lnTo>
                  <a:lnTo>
                    <a:pt x="653" y="1996"/>
                  </a:lnTo>
                  <a:lnTo>
                    <a:pt x="655" y="2044"/>
                  </a:lnTo>
                  <a:lnTo>
                    <a:pt x="658" y="2071"/>
                  </a:lnTo>
                  <a:lnTo>
                    <a:pt x="669" y="2097"/>
                  </a:lnTo>
                  <a:lnTo>
                    <a:pt x="682" y="2121"/>
                  </a:lnTo>
                  <a:lnTo>
                    <a:pt x="700" y="2142"/>
                  </a:lnTo>
                  <a:lnTo>
                    <a:pt x="720" y="2162"/>
                  </a:lnTo>
                  <a:lnTo>
                    <a:pt x="740" y="2178"/>
                  </a:lnTo>
                  <a:lnTo>
                    <a:pt x="759" y="2193"/>
                  </a:lnTo>
                  <a:lnTo>
                    <a:pt x="1438" y="2193"/>
                  </a:lnTo>
                  <a:lnTo>
                    <a:pt x="1457" y="2178"/>
                  </a:lnTo>
                  <a:lnTo>
                    <a:pt x="1478" y="2162"/>
                  </a:lnTo>
                  <a:lnTo>
                    <a:pt x="1498" y="2142"/>
                  </a:lnTo>
                  <a:lnTo>
                    <a:pt x="1515" y="2121"/>
                  </a:lnTo>
                  <a:lnTo>
                    <a:pt x="1529" y="2097"/>
                  </a:lnTo>
                  <a:lnTo>
                    <a:pt x="1539" y="2071"/>
                  </a:lnTo>
                  <a:lnTo>
                    <a:pt x="1542" y="2044"/>
                  </a:lnTo>
                  <a:lnTo>
                    <a:pt x="1545" y="1996"/>
                  </a:lnTo>
                  <a:lnTo>
                    <a:pt x="1553" y="1950"/>
                  </a:lnTo>
                  <a:lnTo>
                    <a:pt x="1565" y="1906"/>
                  </a:lnTo>
                  <a:lnTo>
                    <a:pt x="1581" y="1864"/>
                  </a:lnTo>
                  <a:lnTo>
                    <a:pt x="1600" y="1824"/>
                  </a:lnTo>
                  <a:lnTo>
                    <a:pt x="1623" y="1783"/>
                  </a:lnTo>
                  <a:lnTo>
                    <a:pt x="1647" y="1744"/>
                  </a:lnTo>
                  <a:lnTo>
                    <a:pt x="1673" y="1705"/>
                  </a:lnTo>
                  <a:lnTo>
                    <a:pt x="1700" y="1666"/>
                  </a:lnTo>
                  <a:lnTo>
                    <a:pt x="1724" y="1631"/>
                  </a:lnTo>
                  <a:lnTo>
                    <a:pt x="1748" y="1595"/>
                  </a:lnTo>
                  <a:lnTo>
                    <a:pt x="1772" y="1558"/>
                  </a:lnTo>
                  <a:lnTo>
                    <a:pt x="1796" y="1518"/>
                  </a:lnTo>
                  <a:lnTo>
                    <a:pt x="1817" y="1478"/>
                  </a:lnTo>
                  <a:lnTo>
                    <a:pt x="1839" y="1435"/>
                  </a:lnTo>
                  <a:lnTo>
                    <a:pt x="1858" y="1390"/>
                  </a:lnTo>
                  <a:lnTo>
                    <a:pt x="1875" y="1343"/>
                  </a:lnTo>
                  <a:lnTo>
                    <a:pt x="1890" y="1292"/>
                  </a:lnTo>
                  <a:lnTo>
                    <a:pt x="1902" y="1238"/>
                  </a:lnTo>
                  <a:lnTo>
                    <a:pt x="1911" y="1181"/>
                  </a:lnTo>
                  <a:lnTo>
                    <a:pt x="1917" y="1120"/>
                  </a:lnTo>
                  <a:lnTo>
                    <a:pt x="1919" y="1054"/>
                  </a:lnTo>
                  <a:lnTo>
                    <a:pt x="1916" y="983"/>
                  </a:lnTo>
                  <a:lnTo>
                    <a:pt x="1907" y="915"/>
                  </a:lnTo>
                  <a:lnTo>
                    <a:pt x="1890" y="847"/>
                  </a:lnTo>
                  <a:lnTo>
                    <a:pt x="1868" y="783"/>
                  </a:lnTo>
                  <a:lnTo>
                    <a:pt x="1841" y="721"/>
                  </a:lnTo>
                  <a:lnTo>
                    <a:pt x="1807" y="661"/>
                  </a:lnTo>
                  <a:lnTo>
                    <a:pt x="1769" y="606"/>
                  </a:lnTo>
                  <a:lnTo>
                    <a:pt x="1726" y="553"/>
                  </a:lnTo>
                  <a:lnTo>
                    <a:pt x="1679" y="505"/>
                  </a:lnTo>
                  <a:lnTo>
                    <a:pt x="1628" y="460"/>
                  </a:lnTo>
                  <a:lnTo>
                    <a:pt x="1572" y="418"/>
                  </a:lnTo>
                  <a:lnTo>
                    <a:pt x="1513" y="382"/>
                  </a:lnTo>
                  <a:lnTo>
                    <a:pt x="1451" y="352"/>
                  </a:lnTo>
                  <a:lnTo>
                    <a:pt x="1385" y="324"/>
                  </a:lnTo>
                  <a:lnTo>
                    <a:pt x="1317" y="304"/>
                  </a:lnTo>
                  <a:lnTo>
                    <a:pt x="1246" y="288"/>
                  </a:lnTo>
                  <a:lnTo>
                    <a:pt x="1174" y="279"/>
                  </a:lnTo>
                  <a:lnTo>
                    <a:pt x="1099" y="276"/>
                  </a:lnTo>
                  <a:close/>
                  <a:moveTo>
                    <a:pt x="1099" y="0"/>
                  </a:moveTo>
                  <a:lnTo>
                    <a:pt x="1188" y="3"/>
                  </a:lnTo>
                  <a:lnTo>
                    <a:pt x="1277" y="15"/>
                  </a:lnTo>
                  <a:lnTo>
                    <a:pt x="1362" y="32"/>
                  </a:lnTo>
                  <a:lnTo>
                    <a:pt x="1446" y="54"/>
                  </a:lnTo>
                  <a:lnTo>
                    <a:pt x="1525" y="83"/>
                  </a:lnTo>
                  <a:lnTo>
                    <a:pt x="1603" y="118"/>
                  </a:lnTo>
                  <a:lnTo>
                    <a:pt x="1676" y="159"/>
                  </a:lnTo>
                  <a:lnTo>
                    <a:pt x="1747" y="204"/>
                  </a:lnTo>
                  <a:lnTo>
                    <a:pt x="1813" y="255"/>
                  </a:lnTo>
                  <a:lnTo>
                    <a:pt x="1875" y="310"/>
                  </a:lnTo>
                  <a:lnTo>
                    <a:pt x="1932" y="368"/>
                  </a:lnTo>
                  <a:lnTo>
                    <a:pt x="1985" y="433"/>
                  </a:lnTo>
                  <a:lnTo>
                    <a:pt x="2033" y="499"/>
                  </a:lnTo>
                  <a:lnTo>
                    <a:pt x="2075" y="570"/>
                  </a:lnTo>
                  <a:lnTo>
                    <a:pt x="2111" y="644"/>
                  </a:lnTo>
                  <a:lnTo>
                    <a:pt x="2140" y="722"/>
                  </a:lnTo>
                  <a:lnTo>
                    <a:pt x="2165" y="801"/>
                  </a:lnTo>
                  <a:lnTo>
                    <a:pt x="2182" y="883"/>
                  </a:lnTo>
                  <a:lnTo>
                    <a:pt x="2194" y="968"/>
                  </a:lnTo>
                  <a:lnTo>
                    <a:pt x="2197" y="1054"/>
                  </a:lnTo>
                  <a:lnTo>
                    <a:pt x="2195" y="1128"/>
                  </a:lnTo>
                  <a:lnTo>
                    <a:pt x="2189" y="1197"/>
                  </a:lnTo>
                  <a:lnTo>
                    <a:pt x="2180" y="1263"/>
                  </a:lnTo>
                  <a:lnTo>
                    <a:pt x="2168" y="1326"/>
                  </a:lnTo>
                  <a:lnTo>
                    <a:pt x="2153" y="1384"/>
                  </a:lnTo>
                  <a:lnTo>
                    <a:pt x="2136" y="1440"/>
                  </a:lnTo>
                  <a:lnTo>
                    <a:pt x="2116" y="1493"/>
                  </a:lnTo>
                  <a:lnTo>
                    <a:pt x="2095" y="1542"/>
                  </a:lnTo>
                  <a:lnTo>
                    <a:pt x="2072" y="1588"/>
                  </a:lnTo>
                  <a:lnTo>
                    <a:pt x="2050" y="1632"/>
                  </a:lnTo>
                  <a:lnTo>
                    <a:pt x="2025" y="1675"/>
                  </a:lnTo>
                  <a:lnTo>
                    <a:pt x="2001" y="1714"/>
                  </a:lnTo>
                  <a:lnTo>
                    <a:pt x="1977" y="1752"/>
                  </a:lnTo>
                  <a:lnTo>
                    <a:pt x="1953" y="1787"/>
                  </a:lnTo>
                  <a:lnTo>
                    <a:pt x="1929" y="1820"/>
                  </a:lnTo>
                  <a:lnTo>
                    <a:pt x="1902" y="1862"/>
                  </a:lnTo>
                  <a:lnTo>
                    <a:pt x="1877" y="1899"/>
                  </a:lnTo>
                  <a:lnTo>
                    <a:pt x="1857" y="1933"/>
                  </a:lnTo>
                  <a:lnTo>
                    <a:pt x="1841" y="1963"/>
                  </a:lnTo>
                  <a:lnTo>
                    <a:pt x="1830" y="1991"/>
                  </a:lnTo>
                  <a:lnTo>
                    <a:pt x="1822" y="2019"/>
                  </a:lnTo>
                  <a:lnTo>
                    <a:pt x="1819" y="2044"/>
                  </a:lnTo>
                  <a:lnTo>
                    <a:pt x="1816" y="2095"/>
                  </a:lnTo>
                  <a:lnTo>
                    <a:pt x="1806" y="2145"/>
                  </a:lnTo>
                  <a:lnTo>
                    <a:pt x="1790" y="2193"/>
                  </a:lnTo>
                  <a:lnTo>
                    <a:pt x="1766" y="2240"/>
                  </a:lnTo>
                  <a:lnTo>
                    <a:pt x="1738" y="2285"/>
                  </a:lnTo>
                  <a:lnTo>
                    <a:pt x="1702" y="2328"/>
                  </a:lnTo>
                  <a:lnTo>
                    <a:pt x="1662" y="2369"/>
                  </a:lnTo>
                  <a:lnTo>
                    <a:pt x="1615" y="2406"/>
                  </a:lnTo>
                  <a:lnTo>
                    <a:pt x="1614" y="2429"/>
                  </a:lnTo>
                  <a:lnTo>
                    <a:pt x="1613" y="2456"/>
                  </a:lnTo>
                  <a:lnTo>
                    <a:pt x="1611" y="2485"/>
                  </a:lnTo>
                  <a:lnTo>
                    <a:pt x="1609" y="2515"/>
                  </a:lnTo>
                  <a:lnTo>
                    <a:pt x="1607" y="2546"/>
                  </a:lnTo>
                  <a:lnTo>
                    <a:pt x="1606" y="2576"/>
                  </a:lnTo>
                  <a:lnTo>
                    <a:pt x="1604" y="2605"/>
                  </a:lnTo>
                  <a:lnTo>
                    <a:pt x="1603" y="2631"/>
                  </a:lnTo>
                  <a:lnTo>
                    <a:pt x="1601" y="2653"/>
                  </a:lnTo>
                  <a:lnTo>
                    <a:pt x="1600" y="2671"/>
                  </a:lnTo>
                  <a:lnTo>
                    <a:pt x="1600" y="2682"/>
                  </a:lnTo>
                  <a:lnTo>
                    <a:pt x="1599" y="2685"/>
                  </a:lnTo>
                  <a:lnTo>
                    <a:pt x="1599" y="2699"/>
                  </a:lnTo>
                  <a:lnTo>
                    <a:pt x="1597" y="2715"/>
                  </a:lnTo>
                  <a:lnTo>
                    <a:pt x="1592" y="2732"/>
                  </a:lnTo>
                  <a:lnTo>
                    <a:pt x="1587" y="2750"/>
                  </a:lnTo>
                  <a:lnTo>
                    <a:pt x="1578" y="2770"/>
                  </a:lnTo>
                  <a:lnTo>
                    <a:pt x="1566" y="2789"/>
                  </a:lnTo>
                  <a:lnTo>
                    <a:pt x="1552" y="2809"/>
                  </a:lnTo>
                  <a:lnTo>
                    <a:pt x="1533" y="2831"/>
                  </a:lnTo>
                  <a:lnTo>
                    <a:pt x="1511" y="2850"/>
                  </a:lnTo>
                  <a:lnTo>
                    <a:pt x="1483" y="2870"/>
                  </a:lnTo>
                  <a:lnTo>
                    <a:pt x="1452" y="2888"/>
                  </a:lnTo>
                  <a:lnTo>
                    <a:pt x="1415" y="2906"/>
                  </a:lnTo>
                  <a:lnTo>
                    <a:pt x="1372" y="2922"/>
                  </a:lnTo>
                  <a:lnTo>
                    <a:pt x="1347" y="2953"/>
                  </a:lnTo>
                  <a:lnTo>
                    <a:pt x="1317" y="2983"/>
                  </a:lnTo>
                  <a:lnTo>
                    <a:pt x="1283" y="3010"/>
                  </a:lnTo>
                  <a:lnTo>
                    <a:pt x="1259" y="3022"/>
                  </a:lnTo>
                  <a:lnTo>
                    <a:pt x="1233" y="3030"/>
                  </a:lnTo>
                  <a:lnTo>
                    <a:pt x="1205" y="3032"/>
                  </a:lnTo>
                  <a:lnTo>
                    <a:pt x="992" y="3032"/>
                  </a:lnTo>
                  <a:lnTo>
                    <a:pt x="965" y="3030"/>
                  </a:lnTo>
                  <a:lnTo>
                    <a:pt x="939" y="3022"/>
                  </a:lnTo>
                  <a:lnTo>
                    <a:pt x="915" y="3010"/>
                  </a:lnTo>
                  <a:lnTo>
                    <a:pt x="881" y="2983"/>
                  </a:lnTo>
                  <a:lnTo>
                    <a:pt x="850" y="2953"/>
                  </a:lnTo>
                  <a:lnTo>
                    <a:pt x="825" y="2922"/>
                  </a:lnTo>
                  <a:lnTo>
                    <a:pt x="780" y="2904"/>
                  </a:lnTo>
                  <a:lnTo>
                    <a:pt x="741" y="2886"/>
                  </a:lnTo>
                  <a:lnTo>
                    <a:pt x="707" y="2866"/>
                  </a:lnTo>
                  <a:lnTo>
                    <a:pt x="680" y="2844"/>
                  </a:lnTo>
                  <a:lnTo>
                    <a:pt x="657" y="2823"/>
                  </a:lnTo>
                  <a:lnTo>
                    <a:pt x="639" y="2800"/>
                  </a:lnTo>
                  <a:lnTo>
                    <a:pt x="626" y="2779"/>
                  </a:lnTo>
                  <a:lnTo>
                    <a:pt x="614" y="2757"/>
                  </a:lnTo>
                  <a:lnTo>
                    <a:pt x="607" y="2737"/>
                  </a:lnTo>
                  <a:lnTo>
                    <a:pt x="602" y="2718"/>
                  </a:lnTo>
                  <a:lnTo>
                    <a:pt x="599" y="2701"/>
                  </a:lnTo>
                  <a:lnTo>
                    <a:pt x="598" y="2685"/>
                  </a:lnTo>
                  <a:lnTo>
                    <a:pt x="598" y="2685"/>
                  </a:lnTo>
                  <a:lnTo>
                    <a:pt x="598" y="2682"/>
                  </a:lnTo>
                  <a:lnTo>
                    <a:pt x="597" y="2671"/>
                  </a:lnTo>
                  <a:lnTo>
                    <a:pt x="596" y="2653"/>
                  </a:lnTo>
                  <a:lnTo>
                    <a:pt x="595" y="2631"/>
                  </a:lnTo>
                  <a:lnTo>
                    <a:pt x="594" y="2605"/>
                  </a:lnTo>
                  <a:lnTo>
                    <a:pt x="592" y="2576"/>
                  </a:lnTo>
                  <a:lnTo>
                    <a:pt x="590" y="2546"/>
                  </a:lnTo>
                  <a:lnTo>
                    <a:pt x="588" y="2515"/>
                  </a:lnTo>
                  <a:lnTo>
                    <a:pt x="587" y="2485"/>
                  </a:lnTo>
                  <a:lnTo>
                    <a:pt x="585" y="2456"/>
                  </a:lnTo>
                  <a:lnTo>
                    <a:pt x="584" y="2429"/>
                  </a:lnTo>
                  <a:lnTo>
                    <a:pt x="582" y="2406"/>
                  </a:lnTo>
                  <a:lnTo>
                    <a:pt x="536" y="2369"/>
                  </a:lnTo>
                  <a:lnTo>
                    <a:pt x="495" y="2328"/>
                  </a:lnTo>
                  <a:lnTo>
                    <a:pt x="460" y="2285"/>
                  </a:lnTo>
                  <a:lnTo>
                    <a:pt x="432" y="2240"/>
                  </a:lnTo>
                  <a:lnTo>
                    <a:pt x="408" y="2193"/>
                  </a:lnTo>
                  <a:lnTo>
                    <a:pt x="392" y="2145"/>
                  </a:lnTo>
                  <a:lnTo>
                    <a:pt x="382" y="2095"/>
                  </a:lnTo>
                  <a:lnTo>
                    <a:pt x="378" y="2044"/>
                  </a:lnTo>
                  <a:lnTo>
                    <a:pt x="376" y="2019"/>
                  </a:lnTo>
                  <a:lnTo>
                    <a:pt x="368" y="1991"/>
                  </a:lnTo>
                  <a:lnTo>
                    <a:pt x="357" y="1963"/>
                  </a:lnTo>
                  <a:lnTo>
                    <a:pt x="341" y="1933"/>
                  </a:lnTo>
                  <a:lnTo>
                    <a:pt x="320" y="1899"/>
                  </a:lnTo>
                  <a:lnTo>
                    <a:pt x="297" y="1862"/>
                  </a:lnTo>
                  <a:lnTo>
                    <a:pt x="268" y="1821"/>
                  </a:lnTo>
                  <a:lnTo>
                    <a:pt x="245" y="1788"/>
                  </a:lnTo>
                  <a:lnTo>
                    <a:pt x="222" y="1752"/>
                  </a:lnTo>
                  <a:lnTo>
                    <a:pt x="197" y="1714"/>
                  </a:lnTo>
                  <a:lnTo>
                    <a:pt x="173" y="1675"/>
                  </a:lnTo>
                  <a:lnTo>
                    <a:pt x="149" y="1633"/>
                  </a:lnTo>
                  <a:lnTo>
                    <a:pt x="125" y="1588"/>
                  </a:lnTo>
                  <a:lnTo>
                    <a:pt x="102" y="1542"/>
                  </a:lnTo>
                  <a:lnTo>
                    <a:pt x="82" y="1493"/>
                  </a:lnTo>
                  <a:lnTo>
                    <a:pt x="62" y="1440"/>
                  </a:lnTo>
                  <a:lnTo>
                    <a:pt x="45" y="1384"/>
                  </a:lnTo>
                  <a:lnTo>
                    <a:pt x="30" y="1326"/>
                  </a:lnTo>
                  <a:lnTo>
                    <a:pt x="17" y="1263"/>
                  </a:lnTo>
                  <a:lnTo>
                    <a:pt x="8" y="1197"/>
                  </a:lnTo>
                  <a:lnTo>
                    <a:pt x="3" y="1128"/>
                  </a:lnTo>
                  <a:lnTo>
                    <a:pt x="0" y="1054"/>
                  </a:lnTo>
                  <a:lnTo>
                    <a:pt x="4" y="968"/>
                  </a:lnTo>
                  <a:lnTo>
                    <a:pt x="15" y="883"/>
                  </a:lnTo>
                  <a:lnTo>
                    <a:pt x="32" y="801"/>
                  </a:lnTo>
                  <a:lnTo>
                    <a:pt x="57" y="722"/>
                  </a:lnTo>
                  <a:lnTo>
                    <a:pt x="87" y="644"/>
                  </a:lnTo>
                  <a:lnTo>
                    <a:pt x="123" y="570"/>
                  </a:lnTo>
                  <a:lnTo>
                    <a:pt x="165" y="499"/>
                  </a:lnTo>
                  <a:lnTo>
                    <a:pt x="213" y="433"/>
                  </a:lnTo>
                  <a:lnTo>
                    <a:pt x="266" y="368"/>
                  </a:lnTo>
                  <a:lnTo>
                    <a:pt x="323" y="310"/>
                  </a:lnTo>
                  <a:lnTo>
                    <a:pt x="385" y="255"/>
                  </a:lnTo>
                  <a:lnTo>
                    <a:pt x="451" y="204"/>
                  </a:lnTo>
                  <a:lnTo>
                    <a:pt x="521" y="159"/>
                  </a:lnTo>
                  <a:lnTo>
                    <a:pt x="595" y="118"/>
                  </a:lnTo>
                  <a:lnTo>
                    <a:pt x="672" y="83"/>
                  </a:lnTo>
                  <a:lnTo>
                    <a:pt x="753" y="54"/>
                  </a:lnTo>
                  <a:lnTo>
                    <a:pt x="836" y="32"/>
                  </a:lnTo>
                  <a:lnTo>
                    <a:pt x="921" y="15"/>
                  </a:lnTo>
                  <a:lnTo>
                    <a:pt x="1009" y="3"/>
                  </a:lnTo>
                  <a:lnTo>
                    <a:pt x="10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16" name="Freeform 34">
              <a:extLst>
                <a:ext uri="{FF2B5EF4-FFF2-40B4-BE49-F238E27FC236}">
                  <a16:creationId xmlns:a16="http://schemas.microsoft.com/office/drawing/2014/main" id="{AB9F3019-8499-4122-82CE-49B442C428C4}"/>
                </a:ext>
              </a:extLst>
            </p:cNvPr>
            <p:cNvSpPr>
              <a:spLocks/>
            </p:cNvSpPr>
            <p:nvPr/>
          </p:nvSpPr>
          <p:spPr bwMode="auto">
            <a:xfrm>
              <a:off x="2525713" y="1574800"/>
              <a:ext cx="31750" cy="79375"/>
            </a:xfrm>
            <a:custGeom>
              <a:avLst/>
              <a:gdLst>
                <a:gd name="T0" fmla="*/ 69 w 138"/>
                <a:gd name="T1" fmla="*/ 0 h 344"/>
                <a:gd name="T2" fmla="*/ 69 w 138"/>
                <a:gd name="T3" fmla="*/ 0 h 344"/>
                <a:gd name="T4" fmla="*/ 87 w 138"/>
                <a:gd name="T5" fmla="*/ 3 h 344"/>
                <a:gd name="T6" fmla="*/ 104 w 138"/>
                <a:gd name="T7" fmla="*/ 9 h 344"/>
                <a:gd name="T8" fmla="*/ 118 w 138"/>
                <a:gd name="T9" fmla="*/ 21 h 344"/>
                <a:gd name="T10" fmla="*/ 129 w 138"/>
                <a:gd name="T11" fmla="*/ 34 h 344"/>
                <a:gd name="T12" fmla="*/ 136 w 138"/>
                <a:gd name="T13" fmla="*/ 51 h 344"/>
                <a:gd name="T14" fmla="*/ 138 w 138"/>
                <a:gd name="T15" fmla="*/ 69 h 344"/>
                <a:gd name="T16" fmla="*/ 138 w 138"/>
                <a:gd name="T17" fmla="*/ 275 h 344"/>
                <a:gd name="T18" fmla="*/ 136 w 138"/>
                <a:gd name="T19" fmla="*/ 294 h 344"/>
                <a:gd name="T20" fmla="*/ 129 w 138"/>
                <a:gd name="T21" fmla="*/ 310 h 344"/>
                <a:gd name="T22" fmla="*/ 118 w 138"/>
                <a:gd name="T23" fmla="*/ 325 h 344"/>
                <a:gd name="T24" fmla="*/ 104 w 138"/>
                <a:gd name="T25" fmla="*/ 335 h 344"/>
                <a:gd name="T26" fmla="*/ 87 w 138"/>
                <a:gd name="T27" fmla="*/ 342 h 344"/>
                <a:gd name="T28" fmla="*/ 69 w 138"/>
                <a:gd name="T29" fmla="*/ 344 h 344"/>
                <a:gd name="T30" fmla="*/ 51 w 138"/>
                <a:gd name="T31" fmla="*/ 342 h 344"/>
                <a:gd name="T32" fmla="*/ 34 w 138"/>
                <a:gd name="T33" fmla="*/ 335 h 344"/>
                <a:gd name="T34" fmla="*/ 20 w 138"/>
                <a:gd name="T35" fmla="*/ 325 h 344"/>
                <a:gd name="T36" fmla="*/ 9 w 138"/>
                <a:gd name="T37" fmla="*/ 310 h 344"/>
                <a:gd name="T38" fmla="*/ 2 w 138"/>
                <a:gd name="T39" fmla="*/ 294 h 344"/>
                <a:gd name="T40" fmla="*/ 0 w 138"/>
                <a:gd name="T41" fmla="*/ 275 h 344"/>
                <a:gd name="T42" fmla="*/ 0 w 138"/>
                <a:gd name="T43" fmla="*/ 69 h 344"/>
                <a:gd name="T44" fmla="*/ 2 w 138"/>
                <a:gd name="T45" fmla="*/ 51 h 344"/>
                <a:gd name="T46" fmla="*/ 9 w 138"/>
                <a:gd name="T47" fmla="*/ 34 h 344"/>
                <a:gd name="T48" fmla="*/ 20 w 138"/>
                <a:gd name="T49" fmla="*/ 21 h 344"/>
                <a:gd name="T50" fmla="*/ 34 w 138"/>
                <a:gd name="T51" fmla="*/ 9 h 344"/>
                <a:gd name="T52" fmla="*/ 51 w 138"/>
                <a:gd name="T53" fmla="*/ 3 h 344"/>
                <a:gd name="T54" fmla="*/ 69 w 138"/>
                <a:gd name="T5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8" h="344">
                  <a:moveTo>
                    <a:pt x="69" y="0"/>
                  </a:moveTo>
                  <a:lnTo>
                    <a:pt x="69" y="0"/>
                  </a:lnTo>
                  <a:lnTo>
                    <a:pt x="87" y="3"/>
                  </a:lnTo>
                  <a:lnTo>
                    <a:pt x="104" y="9"/>
                  </a:lnTo>
                  <a:lnTo>
                    <a:pt x="118" y="21"/>
                  </a:lnTo>
                  <a:lnTo>
                    <a:pt x="129" y="34"/>
                  </a:lnTo>
                  <a:lnTo>
                    <a:pt x="136" y="51"/>
                  </a:lnTo>
                  <a:lnTo>
                    <a:pt x="138" y="69"/>
                  </a:lnTo>
                  <a:lnTo>
                    <a:pt x="138" y="275"/>
                  </a:lnTo>
                  <a:lnTo>
                    <a:pt x="136" y="294"/>
                  </a:lnTo>
                  <a:lnTo>
                    <a:pt x="129" y="310"/>
                  </a:lnTo>
                  <a:lnTo>
                    <a:pt x="118" y="325"/>
                  </a:lnTo>
                  <a:lnTo>
                    <a:pt x="104" y="335"/>
                  </a:lnTo>
                  <a:lnTo>
                    <a:pt x="87" y="342"/>
                  </a:lnTo>
                  <a:lnTo>
                    <a:pt x="69" y="344"/>
                  </a:lnTo>
                  <a:lnTo>
                    <a:pt x="51" y="342"/>
                  </a:lnTo>
                  <a:lnTo>
                    <a:pt x="34" y="335"/>
                  </a:lnTo>
                  <a:lnTo>
                    <a:pt x="20" y="325"/>
                  </a:lnTo>
                  <a:lnTo>
                    <a:pt x="9" y="310"/>
                  </a:lnTo>
                  <a:lnTo>
                    <a:pt x="2" y="294"/>
                  </a:lnTo>
                  <a:lnTo>
                    <a:pt x="0" y="275"/>
                  </a:lnTo>
                  <a:lnTo>
                    <a:pt x="0" y="69"/>
                  </a:lnTo>
                  <a:lnTo>
                    <a:pt x="2" y="51"/>
                  </a:lnTo>
                  <a:lnTo>
                    <a:pt x="9" y="34"/>
                  </a:lnTo>
                  <a:lnTo>
                    <a:pt x="20" y="21"/>
                  </a:lnTo>
                  <a:lnTo>
                    <a:pt x="34" y="9"/>
                  </a:lnTo>
                  <a:lnTo>
                    <a:pt x="51" y="3"/>
                  </a:lnTo>
                  <a:lnTo>
                    <a:pt x="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18" name="Freeform 35">
              <a:extLst>
                <a:ext uri="{FF2B5EF4-FFF2-40B4-BE49-F238E27FC236}">
                  <a16:creationId xmlns:a16="http://schemas.microsoft.com/office/drawing/2014/main" id="{A74931E1-856C-404F-A797-22F3E960D3EC}"/>
                </a:ext>
              </a:extLst>
            </p:cNvPr>
            <p:cNvSpPr>
              <a:spLocks/>
            </p:cNvSpPr>
            <p:nvPr/>
          </p:nvSpPr>
          <p:spPr bwMode="auto">
            <a:xfrm>
              <a:off x="2349500" y="1622425"/>
              <a:ext cx="53975" cy="71437"/>
            </a:xfrm>
            <a:custGeom>
              <a:avLst/>
              <a:gdLst>
                <a:gd name="T0" fmla="*/ 69 w 243"/>
                <a:gd name="T1" fmla="*/ 0 h 317"/>
                <a:gd name="T2" fmla="*/ 87 w 243"/>
                <a:gd name="T3" fmla="*/ 2 h 317"/>
                <a:gd name="T4" fmla="*/ 103 w 243"/>
                <a:gd name="T5" fmla="*/ 9 h 317"/>
                <a:gd name="T6" fmla="*/ 118 w 243"/>
                <a:gd name="T7" fmla="*/ 20 h 317"/>
                <a:gd name="T8" fmla="*/ 129 w 243"/>
                <a:gd name="T9" fmla="*/ 34 h 317"/>
                <a:gd name="T10" fmla="*/ 233 w 243"/>
                <a:gd name="T11" fmla="*/ 214 h 317"/>
                <a:gd name="T12" fmla="*/ 240 w 243"/>
                <a:gd name="T13" fmla="*/ 230 h 317"/>
                <a:gd name="T14" fmla="*/ 243 w 243"/>
                <a:gd name="T15" fmla="*/ 248 h 317"/>
                <a:gd name="T16" fmla="*/ 240 w 243"/>
                <a:gd name="T17" fmla="*/ 265 h 317"/>
                <a:gd name="T18" fmla="*/ 233 w 243"/>
                <a:gd name="T19" fmla="*/ 282 h 317"/>
                <a:gd name="T20" fmla="*/ 223 w 243"/>
                <a:gd name="T21" fmla="*/ 297 h 317"/>
                <a:gd name="T22" fmla="*/ 209 w 243"/>
                <a:gd name="T23" fmla="*/ 308 h 317"/>
                <a:gd name="T24" fmla="*/ 191 w 243"/>
                <a:gd name="T25" fmla="*/ 315 h 317"/>
                <a:gd name="T26" fmla="*/ 173 w 243"/>
                <a:gd name="T27" fmla="*/ 317 h 317"/>
                <a:gd name="T28" fmla="*/ 155 w 243"/>
                <a:gd name="T29" fmla="*/ 315 h 317"/>
                <a:gd name="T30" fmla="*/ 139 w 243"/>
                <a:gd name="T31" fmla="*/ 308 h 317"/>
                <a:gd name="T32" fmla="*/ 125 w 243"/>
                <a:gd name="T33" fmla="*/ 297 h 317"/>
                <a:gd name="T34" fmla="*/ 113 w 243"/>
                <a:gd name="T35" fmla="*/ 282 h 317"/>
                <a:gd name="T36" fmla="*/ 9 w 243"/>
                <a:gd name="T37" fmla="*/ 103 h 317"/>
                <a:gd name="T38" fmla="*/ 2 w 243"/>
                <a:gd name="T39" fmla="*/ 86 h 317"/>
                <a:gd name="T40" fmla="*/ 0 w 243"/>
                <a:gd name="T41" fmla="*/ 68 h 317"/>
                <a:gd name="T42" fmla="*/ 2 w 243"/>
                <a:gd name="T43" fmla="*/ 51 h 317"/>
                <a:gd name="T44" fmla="*/ 9 w 243"/>
                <a:gd name="T45" fmla="*/ 34 h 317"/>
                <a:gd name="T46" fmla="*/ 20 w 243"/>
                <a:gd name="T47" fmla="*/ 21 h 317"/>
                <a:gd name="T48" fmla="*/ 34 w 243"/>
                <a:gd name="T49" fmla="*/ 10 h 317"/>
                <a:gd name="T50" fmla="*/ 52 w 243"/>
                <a:gd name="T51" fmla="*/ 2 h 317"/>
                <a:gd name="T52" fmla="*/ 69 w 243"/>
                <a:gd name="T53"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3" h="317">
                  <a:moveTo>
                    <a:pt x="69" y="0"/>
                  </a:moveTo>
                  <a:lnTo>
                    <a:pt x="87" y="2"/>
                  </a:lnTo>
                  <a:lnTo>
                    <a:pt x="103" y="9"/>
                  </a:lnTo>
                  <a:lnTo>
                    <a:pt x="118" y="20"/>
                  </a:lnTo>
                  <a:lnTo>
                    <a:pt x="129" y="34"/>
                  </a:lnTo>
                  <a:lnTo>
                    <a:pt x="233" y="214"/>
                  </a:lnTo>
                  <a:lnTo>
                    <a:pt x="240" y="230"/>
                  </a:lnTo>
                  <a:lnTo>
                    <a:pt x="243" y="248"/>
                  </a:lnTo>
                  <a:lnTo>
                    <a:pt x="240" y="265"/>
                  </a:lnTo>
                  <a:lnTo>
                    <a:pt x="233" y="282"/>
                  </a:lnTo>
                  <a:lnTo>
                    <a:pt x="223" y="297"/>
                  </a:lnTo>
                  <a:lnTo>
                    <a:pt x="209" y="308"/>
                  </a:lnTo>
                  <a:lnTo>
                    <a:pt x="191" y="315"/>
                  </a:lnTo>
                  <a:lnTo>
                    <a:pt x="173" y="317"/>
                  </a:lnTo>
                  <a:lnTo>
                    <a:pt x="155" y="315"/>
                  </a:lnTo>
                  <a:lnTo>
                    <a:pt x="139" y="308"/>
                  </a:lnTo>
                  <a:lnTo>
                    <a:pt x="125" y="297"/>
                  </a:lnTo>
                  <a:lnTo>
                    <a:pt x="113" y="282"/>
                  </a:lnTo>
                  <a:lnTo>
                    <a:pt x="9" y="103"/>
                  </a:lnTo>
                  <a:lnTo>
                    <a:pt x="2" y="86"/>
                  </a:lnTo>
                  <a:lnTo>
                    <a:pt x="0" y="68"/>
                  </a:lnTo>
                  <a:lnTo>
                    <a:pt x="2" y="51"/>
                  </a:lnTo>
                  <a:lnTo>
                    <a:pt x="9" y="34"/>
                  </a:lnTo>
                  <a:lnTo>
                    <a:pt x="20" y="21"/>
                  </a:lnTo>
                  <a:lnTo>
                    <a:pt x="34" y="10"/>
                  </a:lnTo>
                  <a:lnTo>
                    <a:pt x="52" y="2"/>
                  </a:lnTo>
                  <a:lnTo>
                    <a:pt x="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19" name="Freeform 36">
              <a:extLst>
                <a:ext uri="{FF2B5EF4-FFF2-40B4-BE49-F238E27FC236}">
                  <a16:creationId xmlns:a16="http://schemas.microsoft.com/office/drawing/2014/main" id="{46FBD0BB-AC52-4953-A673-B844389A9ADD}"/>
                </a:ext>
              </a:extLst>
            </p:cNvPr>
            <p:cNvSpPr>
              <a:spLocks/>
            </p:cNvSpPr>
            <p:nvPr/>
          </p:nvSpPr>
          <p:spPr bwMode="auto">
            <a:xfrm>
              <a:off x="2219325" y="1751013"/>
              <a:ext cx="71438" cy="55562"/>
            </a:xfrm>
            <a:custGeom>
              <a:avLst/>
              <a:gdLst>
                <a:gd name="T0" fmla="*/ 69 w 319"/>
                <a:gd name="T1" fmla="*/ 0 h 241"/>
                <a:gd name="T2" fmla="*/ 86 w 319"/>
                <a:gd name="T3" fmla="*/ 3 h 241"/>
                <a:gd name="T4" fmla="*/ 104 w 319"/>
                <a:gd name="T5" fmla="*/ 9 h 241"/>
                <a:gd name="T6" fmla="*/ 285 w 319"/>
                <a:gd name="T7" fmla="*/ 112 h 241"/>
                <a:gd name="T8" fmla="*/ 299 w 319"/>
                <a:gd name="T9" fmla="*/ 124 h 241"/>
                <a:gd name="T10" fmla="*/ 310 w 319"/>
                <a:gd name="T11" fmla="*/ 138 h 241"/>
                <a:gd name="T12" fmla="*/ 316 w 319"/>
                <a:gd name="T13" fmla="*/ 155 h 241"/>
                <a:gd name="T14" fmla="*/ 319 w 319"/>
                <a:gd name="T15" fmla="*/ 172 h 241"/>
                <a:gd name="T16" fmla="*/ 316 w 319"/>
                <a:gd name="T17" fmla="*/ 190 h 241"/>
                <a:gd name="T18" fmla="*/ 310 w 319"/>
                <a:gd name="T19" fmla="*/ 206 h 241"/>
                <a:gd name="T20" fmla="*/ 298 w 319"/>
                <a:gd name="T21" fmla="*/ 221 h 241"/>
                <a:gd name="T22" fmla="*/ 283 w 319"/>
                <a:gd name="T23" fmla="*/ 232 h 241"/>
                <a:gd name="T24" fmla="*/ 266 w 319"/>
                <a:gd name="T25" fmla="*/ 239 h 241"/>
                <a:gd name="T26" fmla="*/ 249 w 319"/>
                <a:gd name="T27" fmla="*/ 241 h 241"/>
                <a:gd name="T28" fmla="*/ 231 w 319"/>
                <a:gd name="T29" fmla="*/ 239 h 241"/>
                <a:gd name="T30" fmla="*/ 214 w 319"/>
                <a:gd name="T31" fmla="*/ 231 h 241"/>
                <a:gd name="T32" fmla="*/ 34 w 319"/>
                <a:gd name="T33" fmla="*/ 129 h 241"/>
                <a:gd name="T34" fmla="*/ 19 w 319"/>
                <a:gd name="T35" fmla="*/ 118 h 241"/>
                <a:gd name="T36" fmla="*/ 9 w 319"/>
                <a:gd name="T37" fmla="*/ 103 h 241"/>
                <a:gd name="T38" fmla="*/ 2 w 319"/>
                <a:gd name="T39" fmla="*/ 87 h 241"/>
                <a:gd name="T40" fmla="*/ 0 w 319"/>
                <a:gd name="T41" fmla="*/ 69 h 241"/>
                <a:gd name="T42" fmla="*/ 2 w 319"/>
                <a:gd name="T43" fmla="*/ 51 h 241"/>
                <a:gd name="T44" fmla="*/ 9 w 319"/>
                <a:gd name="T45" fmla="*/ 34 h 241"/>
                <a:gd name="T46" fmla="*/ 20 w 319"/>
                <a:gd name="T47" fmla="*/ 20 h 241"/>
                <a:gd name="T48" fmla="*/ 35 w 319"/>
                <a:gd name="T49" fmla="*/ 9 h 241"/>
                <a:gd name="T50" fmla="*/ 51 w 319"/>
                <a:gd name="T51" fmla="*/ 3 h 241"/>
                <a:gd name="T52" fmla="*/ 69 w 319"/>
                <a:gd name="T5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1">
                  <a:moveTo>
                    <a:pt x="69" y="0"/>
                  </a:moveTo>
                  <a:lnTo>
                    <a:pt x="86" y="3"/>
                  </a:lnTo>
                  <a:lnTo>
                    <a:pt x="104" y="9"/>
                  </a:lnTo>
                  <a:lnTo>
                    <a:pt x="285" y="112"/>
                  </a:lnTo>
                  <a:lnTo>
                    <a:pt x="299" y="124"/>
                  </a:lnTo>
                  <a:lnTo>
                    <a:pt x="310" y="138"/>
                  </a:lnTo>
                  <a:lnTo>
                    <a:pt x="316" y="155"/>
                  </a:lnTo>
                  <a:lnTo>
                    <a:pt x="319" y="172"/>
                  </a:lnTo>
                  <a:lnTo>
                    <a:pt x="316" y="190"/>
                  </a:lnTo>
                  <a:lnTo>
                    <a:pt x="310" y="206"/>
                  </a:lnTo>
                  <a:lnTo>
                    <a:pt x="298" y="221"/>
                  </a:lnTo>
                  <a:lnTo>
                    <a:pt x="283" y="232"/>
                  </a:lnTo>
                  <a:lnTo>
                    <a:pt x="266" y="239"/>
                  </a:lnTo>
                  <a:lnTo>
                    <a:pt x="249" y="241"/>
                  </a:lnTo>
                  <a:lnTo>
                    <a:pt x="231" y="239"/>
                  </a:lnTo>
                  <a:lnTo>
                    <a:pt x="214" y="231"/>
                  </a:lnTo>
                  <a:lnTo>
                    <a:pt x="34" y="129"/>
                  </a:lnTo>
                  <a:lnTo>
                    <a:pt x="19" y="118"/>
                  </a:lnTo>
                  <a:lnTo>
                    <a:pt x="9" y="103"/>
                  </a:lnTo>
                  <a:lnTo>
                    <a:pt x="2" y="87"/>
                  </a:lnTo>
                  <a:lnTo>
                    <a:pt x="0" y="69"/>
                  </a:lnTo>
                  <a:lnTo>
                    <a:pt x="2" y="51"/>
                  </a:lnTo>
                  <a:lnTo>
                    <a:pt x="9" y="34"/>
                  </a:lnTo>
                  <a:lnTo>
                    <a:pt x="20" y="20"/>
                  </a:lnTo>
                  <a:lnTo>
                    <a:pt x="35" y="9"/>
                  </a:lnTo>
                  <a:lnTo>
                    <a:pt x="51" y="3"/>
                  </a:lnTo>
                  <a:lnTo>
                    <a:pt x="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20" name="Freeform 37">
              <a:extLst>
                <a:ext uri="{FF2B5EF4-FFF2-40B4-BE49-F238E27FC236}">
                  <a16:creationId xmlns:a16="http://schemas.microsoft.com/office/drawing/2014/main" id="{BBA4CB5E-B1FE-44DF-84DA-3A8728C1BD2D}"/>
                </a:ext>
              </a:extLst>
            </p:cNvPr>
            <p:cNvSpPr>
              <a:spLocks/>
            </p:cNvSpPr>
            <p:nvPr/>
          </p:nvSpPr>
          <p:spPr bwMode="auto">
            <a:xfrm>
              <a:off x="2171700" y="1927225"/>
              <a:ext cx="77788" cy="31750"/>
            </a:xfrm>
            <a:custGeom>
              <a:avLst/>
              <a:gdLst>
                <a:gd name="T0" fmla="*/ 69 w 347"/>
                <a:gd name="T1" fmla="*/ 0 h 139"/>
                <a:gd name="T2" fmla="*/ 278 w 347"/>
                <a:gd name="T3" fmla="*/ 0 h 139"/>
                <a:gd name="T4" fmla="*/ 296 w 347"/>
                <a:gd name="T5" fmla="*/ 4 h 139"/>
                <a:gd name="T6" fmla="*/ 313 w 347"/>
                <a:gd name="T7" fmla="*/ 10 h 139"/>
                <a:gd name="T8" fmla="*/ 327 w 347"/>
                <a:gd name="T9" fmla="*/ 21 h 139"/>
                <a:gd name="T10" fmla="*/ 338 w 347"/>
                <a:gd name="T11" fmla="*/ 35 h 139"/>
                <a:gd name="T12" fmla="*/ 345 w 347"/>
                <a:gd name="T13" fmla="*/ 51 h 139"/>
                <a:gd name="T14" fmla="*/ 347 w 347"/>
                <a:gd name="T15" fmla="*/ 70 h 139"/>
                <a:gd name="T16" fmla="*/ 345 w 347"/>
                <a:gd name="T17" fmla="*/ 88 h 139"/>
                <a:gd name="T18" fmla="*/ 338 w 347"/>
                <a:gd name="T19" fmla="*/ 104 h 139"/>
                <a:gd name="T20" fmla="*/ 327 w 347"/>
                <a:gd name="T21" fmla="*/ 119 h 139"/>
                <a:gd name="T22" fmla="*/ 313 w 347"/>
                <a:gd name="T23" fmla="*/ 129 h 139"/>
                <a:gd name="T24" fmla="*/ 296 w 347"/>
                <a:gd name="T25" fmla="*/ 137 h 139"/>
                <a:gd name="T26" fmla="*/ 278 w 347"/>
                <a:gd name="T27" fmla="*/ 139 h 139"/>
                <a:gd name="T28" fmla="*/ 69 w 347"/>
                <a:gd name="T29" fmla="*/ 139 h 139"/>
                <a:gd name="T30" fmla="*/ 51 w 347"/>
                <a:gd name="T31" fmla="*/ 137 h 139"/>
                <a:gd name="T32" fmla="*/ 35 w 347"/>
                <a:gd name="T33" fmla="*/ 129 h 139"/>
                <a:gd name="T34" fmla="*/ 20 w 347"/>
                <a:gd name="T35" fmla="*/ 119 h 139"/>
                <a:gd name="T36" fmla="*/ 10 w 347"/>
                <a:gd name="T37" fmla="*/ 104 h 139"/>
                <a:gd name="T38" fmla="*/ 2 w 347"/>
                <a:gd name="T39" fmla="*/ 88 h 139"/>
                <a:gd name="T40" fmla="*/ 0 w 347"/>
                <a:gd name="T41" fmla="*/ 70 h 139"/>
                <a:gd name="T42" fmla="*/ 2 w 347"/>
                <a:gd name="T43" fmla="*/ 51 h 139"/>
                <a:gd name="T44" fmla="*/ 10 w 347"/>
                <a:gd name="T45" fmla="*/ 35 h 139"/>
                <a:gd name="T46" fmla="*/ 20 w 347"/>
                <a:gd name="T47" fmla="*/ 21 h 139"/>
                <a:gd name="T48" fmla="*/ 35 w 347"/>
                <a:gd name="T49" fmla="*/ 10 h 139"/>
                <a:gd name="T50" fmla="*/ 51 w 347"/>
                <a:gd name="T51" fmla="*/ 4 h 139"/>
                <a:gd name="T52" fmla="*/ 69 w 347"/>
                <a:gd name="T5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7" h="139">
                  <a:moveTo>
                    <a:pt x="69" y="0"/>
                  </a:moveTo>
                  <a:lnTo>
                    <a:pt x="278" y="0"/>
                  </a:lnTo>
                  <a:lnTo>
                    <a:pt x="296" y="4"/>
                  </a:lnTo>
                  <a:lnTo>
                    <a:pt x="313" y="10"/>
                  </a:lnTo>
                  <a:lnTo>
                    <a:pt x="327" y="21"/>
                  </a:lnTo>
                  <a:lnTo>
                    <a:pt x="338" y="35"/>
                  </a:lnTo>
                  <a:lnTo>
                    <a:pt x="345" y="51"/>
                  </a:lnTo>
                  <a:lnTo>
                    <a:pt x="347" y="70"/>
                  </a:lnTo>
                  <a:lnTo>
                    <a:pt x="345" y="88"/>
                  </a:lnTo>
                  <a:lnTo>
                    <a:pt x="338" y="104"/>
                  </a:lnTo>
                  <a:lnTo>
                    <a:pt x="327" y="119"/>
                  </a:lnTo>
                  <a:lnTo>
                    <a:pt x="313" y="129"/>
                  </a:lnTo>
                  <a:lnTo>
                    <a:pt x="296" y="137"/>
                  </a:lnTo>
                  <a:lnTo>
                    <a:pt x="278" y="139"/>
                  </a:lnTo>
                  <a:lnTo>
                    <a:pt x="69" y="139"/>
                  </a:lnTo>
                  <a:lnTo>
                    <a:pt x="51" y="137"/>
                  </a:lnTo>
                  <a:lnTo>
                    <a:pt x="35" y="129"/>
                  </a:lnTo>
                  <a:lnTo>
                    <a:pt x="20" y="119"/>
                  </a:lnTo>
                  <a:lnTo>
                    <a:pt x="10" y="104"/>
                  </a:lnTo>
                  <a:lnTo>
                    <a:pt x="2" y="88"/>
                  </a:lnTo>
                  <a:lnTo>
                    <a:pt x="0" y="70"/>
                  </a:lnTo>
                  <a:lnTo>
                    <a:pt x="2" y="51"/>
                  </a:lnTo>
                  <a:lnTo>
                    <a:pt x="10" y="35"/>
                  </a:lnTo>
                  <a:lnTo>
                    <a:pt x="20" y="21"/>
                  </a:lnTo>
                  <a:lnTo>
                    <a:pt x="35" y="10"/>
                  </a:lnTo>
                  <a:lnTo>
                    <a:pt x="51" y="4"/>
                  </a:lnTo>
                  <a:lnTo>
                    <a:pt x="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21" name="Freeform 38">
              <a:extLst>
                <a:ext uri="{FF2B5EF4-FFF2-40B4-BE49-F238E27FC236}">
                  <a16:creationId xmlns:a16="http://schemas.microsoft.com/office/drawing/2014/main" id="{5F1159EA-E975-49F2-9415-99B89843D593}"/>
                </a:ext>
              </a:extLst>
            </p:cNvPr>
            <p:cNvSpPr>
              <a:spLocks/>
            </p:cNvSpPr>
            <p:nvPr/>
          </p:nvSpPr>
          <p:spPr bwMode="auto">
            <a:xfrm>
              <a:off x="2219325" y="2079625"/>
              <a:ext cx="71438" cy="55562"/>
            </a:xfrm>
            <a:custGeom>
              <a:avLst/>
              <a:gdLst>
                <a:gd name="T0" fmla="*/ 249 w 319"/>
                <a:gd name="T1" fmla="*/ 0 h 242"/>
                <a:gd name="T2" fmla="*/ 268 w 319"/>
                <a:gd name="T3" fmla="*/ 3 h 242"/>
                <a:gd name="T4" fmla="*/ 283 w 319"/>
                <a:gd name="T5" fmla="*/ 9 h 242"/>
                <a:gd name="T6" fmla="*/ 298 w 319"/>
                <a:gd name="T7" fmla="*/ 20 h 242"/>
                <a:gd name="T8" fmla="*/ 310 w 319"/>
                <a:gd name="T9" fmla="*/ 35 h 242"/>
                <a:gd name="T10" fmla="*/ 316 w 319"/>
                <a:gd name="T11" fmla="*/ 52 h 242"/>
                <a:gd name="T12" fmla="*/ 319 w 319"/>
                <a:gd name="T13" fmla="*/ 70 h 242"/>
                <a:gd name="T14" fmla="*/ 316 w 319"/>
                <a:gd name="T15" fmla="*/ 86 h 242"/>
                <a:gd name="T16" fmla="*/ 310 w 319"/>
                <a:gd name="T17" fmla="*/ 103 h 242"/>
                <a:gd name="T18" fmla="*/ 298 w 319"/>
                <a:gd name="T19" fmla="*/ 118 h 242"/>
                <a:gd name="T20" fmla="*/ 285 w 319"/>
                <a:gd name="T21" fmla="*/ 129 h 242"/>
                <a:gd name="T22" fmla="*/ 104 w 319"/>
                <a:gd name="T23" fmla="*/ 232 h 242"/>
                <a:gd name="T24" fmla="*/ 87 w 319"/>
                <a:gd name="T25" fmla="*/ 239 h 242"/>
                <a:gd name="T26" fmla="*/ 69 w 319"/>
                <a:gd name="T27" fmla="*/ 242 h 242"/>
                <a:gd name="T28" fmla="*/ 51 w 319"/>
                <a:gd name="T29" fmla="*/ 239 h 242"/>
                <a:gd name="T30" fmla="*/ 35 w 319"/>
                <a:gd name="T31" fmla="*/ 233 h 242"/>
                <a:gd name="T32" fmla="*/ 20 w 319"/>
                <a:gd name="T33" fmla="*/ 222 h 242"/>
                <a:gd name="T34" fmla="*/ 9 w 319"/>
                <a:gd name="T35" fmla="*/ 207 h 242"/>
                <a:gd name="T36" fmla="*/ 2 w 319"/>
                <a:gd name="T37" fmla="*/ 190 h 242"/>
                <a:gd name="T38" fmla="*/ 0 w 319"/>
                <a:gd name="T39" fmla="*/ 172 h 242"/>
                <a:gd name="T40" fmla="*/ 2 w 319"/>
                <a:gd name="T41" fmla="*/ 155 h 242"/>
                <a:gd name="T42" fmla="*/ 9 w 319"/>
                <a:gd name="T43" fmla="*/ 138 h 242"/>
                <a:gd name="T44" fmla="*/ 19 w 319"/>
                <a:gd name="T45" fmla="*/ 125 h 242"/>
                <a:gd name="T46" fmla="*/ 34 w 319"/>
                <a:gd name="T47" fmla="*/ 114 h 242"/>
                <a:gd name="T48" fmla="*/ 214 w 319"/>
                <a:gd name="T49" fmla="*/ 10 h 242"/>
                <a:gd name="T50" fmla="*/ 232 w 319"/>
                <a:gd name="T51" fmla="*/ 2 h 242"/>
                <a:gd name="T52" fmla="*/ 249 w 319"/>
                <a:gd name="T5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2">
                  <a:moveTo>
                    <a:pt x="249" y="0"/>
                  </a:moveTo>
                  <a:lnTo>
                    <a:pt x="268" y="3"/>
                  </a:lnTo>
                  <a:lnTo>
                    <a:pt x="283" y="9"/>
                  </a:lnTo>
                  <a:lnTo>
                    <a:pt x="298" y="20"/>
                  </a:lnTo>
                  <a:lnTo>
                    <a:pt x="310" y="35"/>
                  </a:lnTo>
                  <a:lnTo>
                    <a:pt x="316" y="52"/>
                  </a:lnTo>
                  <a:lnTo>
                    <a:pt x="319" y="70"/>
                  </a:lnTo>
                  <a:lnTo>
                    <a:pt x="316" y="86"/>
                  </a:lnTo>
                  <a:lnTo>
                    <a:pt x="310" y="103"/>
                  </a:lnTo>
                  <a:lnTo>
                    <a:pt x="298" y="118"/>
                  </a:lnTo>
                  <a:lnTo>
                    <a:pt x="285" y="129"/>
                  </a:lnTo>
                  <a:lnTo>
                    <a:pt x="104" y="232"/>
                  </a:lnTo>
                  <a:lnTo>
                    <a:pt x="87" y="239"/>
                  </a:lnTo>
                  <a:lnTo>
                    <a:pt x="69" y="242"/>
                  </a:lnTo>
                  <a:lnTo>
                    <a:pt x="51" y="239"/>
                  </a:lnTo>
                  <a:lnTo>
                    <a:pt x="35" y="233"/>
                  </a:lnTo>
                  <a:lnTo>
                    <a:pt x="20" y="222"/>
                  </a:lnTo>
                  <a:lnTo>
                    <a:pt x="9" y="207"/>
                  </a:lnTo>
                  <a:lnTo>
                    <a:pt x="2" y="190"/>
                  </a:lnTo>
                  <a:lnTo>
                    <a:pt x="0" y="172"/>
                  </a:lnTo>
                  <a:lnTo>
                    <a:pt x="2" y="155"/>
                  </a:lnTo>
                  <a:lnTo>
                    <a:pt x="9" y="138"/>
                  </a:lnTo>
                  <a:lnTo>
                    <a:pt x="19" y="125"/>
                  </a:lnTo>
                  <a:lnTo>
                    <a:pt x="34" y="114"/>
                  </a:lnTo>
                  <a:lnTo>
                    <a:pt x="214" y="10"/>
                  </a:lnTo>
                  <a:lnTo>
                    <a:pt x="232" y="2"/>
                  </a:lnTo>
                  <a:lnTo>
                    <a:pt x="2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26" name="Freeform 39">
              <a:extLst>
                <a:ext uri="{FF2B5EF4-FFF2-40B4-BE49-F238E27FC236}">
                  <a16:creationId xmlns:a16="http://schemas.microsoft.com/office/drawing/2014/main" id="{464090A6-D793-493E-A17C-CCB681D0B270}"/>
                </a:ext>
              </a:extLst>
            </p:cNvPr>
            <p:cNvSpPr>
              <a:spLocks/>
            </p:cNvSpPr>
            <p:nvPr/>
          </p:nvSpPr>
          <p:spPr bwMode="auto">
            <a:xfrm>
              <a:off x="2792413" y="2079625"/>
              <a:ext cx="71438" cy="55562"/>
            </a:xfrm>
            <a:custGeom>
              <a:avLst/>
              <a:gdLst>
                <a:gd name="T0" fmla="*/ 69 w 319"/>
                <a:gd name="T1" fmla="*/ 0 h 242"/>
                <a:gd name="T2" fmla="*/ 87 w 319"/>
                <a:gd name="T3" fmla="*/ 2 h 242"/>
                <a:gd name="T4" fmla="*/ 104 w 319"/>
                <a:gd name="T5" fmla="*/ 10 h 242"/>
                <a:gd name="T6" fmla="*/ 285 w 319"/>
                <a:gd name="T7" fmla="*/ 114 h 242"/>
                <a:gd name="T8" fmla="*/ 299 w 319"/>
                <a:gd name="T9" fmla="*/ 125 h 242"/>
                <a:gd name="T10" fmla="*/ 310 w 319"/>
                <a:gd name="T11" fmla="*/ 138 h 242"/>
                <a:gd name="T12" fmla="*/ 316 w 319"/>
                <a:gd name="T13" fmla="*/ 155 h 242"/>
                <a:gd name="T14" fmla="*/ 319 w 319"/>
                <a:gd name="T15" fmla="*/ 172 h 242"/>
                <a:gd name="T16" fmla="*/ 316 w 319"/>
                <a:gd name="T17" fmla="*/ 190 h 242"/>
                <a:gd name="T18" fmla="*/ 310 w 319"/>
                <a:gd name="T19" fmla="*/ 207 h 242"/>
                <a:gd name="T20" fmla="*/ 298 w 319"/>
                <a:gd name="T21" fmla="*/ 222 h 242"/>
                <a:gd name="T22" fmla="*/ 284 w 319"/>
                <a:gd name="T23" fmla="*/ 233 h 242"/>
                <a:gd name="T24" fmla="*/ 268 w 319"/>
                <a:gd name="T25" fmla="*/ 239 h 242"/>
                <a:gd name="T26" fmla="*/ 250 w 319"/>
                <a:gd name="T27" fmla="*/ 242 h 242"/>
                <a:gd name="T28" fmla="*/ 231 w 319"/>
                <a:gd name="T29" fmla="*/ 239 h 242"/>
                <a:gd name="T30" fmla="*/ 214 w 319"/>
                <a:gd name="T31" fmla="*/ 232 h 242"/>
                <a:gd name="T32" fmla="*/ 34 w 319"/>
                <a:gd name="T33" fmla="*/ 129 h 242"/>
                <a:gd name="T34" fmla="*/ 20 w 319"/>
                <a:gd name="T35" fmla="*/ 118 h 242"/>
                <a:gd name="T36" fmla="*/ 9 w 319"/>
                <a:gd name="T37" fmla="*/ 103 h 242"/>
                <a:gd name="T38" fmla="*/ 2 w 319"/>
                <a:gd name="T39" fmla="*/ 86 h 242"/>
                <a:gd name="T40" fmla="*/ 0 w 319"/>
                <a:gd name="T41" fmla="*/ 70 h 242"/>
                <a:gd name="T42" fmla="*/ 2 w 319"/>
                <a:gd name="T43" fmla="*/ 52 h 242"/>
                <a:gd name="T44" fmla="*/ 9 w 319"/>
                <a:gd name="T45" fmla="*/ 35 h 242"/>
                <a:gd name="T46" fmla="*/ 20 w 319"/>
                <a:gd name="T47" fmla="*/ 20 h 242"/>
                <a:gd name="T48" fmla="*/ 35 w 319"/>
                <a:gd name="T49" fmla="*/ 9 h 242"/>
                <a:gd name="T50" fmla="*/ 51 w 319"/>
                <a:gd name="T51" fmla="*/ 3 h 242"/>
                <a:gd name="T52" fmla="*/ 69 w 319"/>
                <a:gd name="T5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2">
                  <a:moveTo>
                    <a:pt x="69" y="0"/>
                  </a:moveTo>
                  <a:lnTo>
                    <a:pt x="87" y="2"/>
                  </a:lnTo>
                  <a:lnTo>
                    <a:pt x="104" y="10"/>
                  </a:lnTo>
                  <a:lnTo>
                    <a:pt x="285" y="114"/>
                  </a:lnTo>
                  <a:lnTo>
                    <a:pt x="299" y="125"/>
                  </a:lnTo>
                  <a:lnTo>
                    <a:pt x="310" y="138"/>
                  </a:lnTo>
                  <a:lnTo>
                    <a:pt x="316" y="155"/>
                  </a:lnTo>
                  <a:lnTo>
                    <a:pt x="319" y="172"/>
                  </a:lnTo>
                  <a:lnTo>
                    <a:pt x="316" y="190"/>
                  </a:lnTo>
                  <a:lnTo>
                    <a:pt x="310" y="207"/>
                  </a:lnTo>
                  <a:lnTo>
                    <a:pt x="298" y="222"/>
                  </a:lnTo>
                  <a:lnTo>
                    <a:pt x="284" y="233"/>
                  </a:lnTo>
                  <a:lnTo>
                    <a:pt x="268" y="239"/>
                  </a:lnTo>
                  <a:lnTo>
                    <a:pt x="250" y="242"/>
                  </a:lnTo>
                  <a:lnTo>
                    <a:pt x="231" y="239"/>
                  </a:lnTo>
                  <a:lnTo>
                    <a:pt x="214" y="232"/>
                  </a:lnTo>
                  <a:lnTo>
                    <a:pt x="34" y="129"/>
                  </a:lnTo>
                  <a:lnTo>
                    <a:pt x="20" y="118"/>
                  </a:lnTo>
                  <a:lnTo>
                    <a:pt x="9" y="103"/>
                  </a:lnTo>
                  <a:lnTo>
                    <a:pt x="2" y="86"/>
                  </a:lnTo>
                  <a:lnTo>
                    <a:pt x="0" y="70"/>
                  </a:lnTo>
                  <a:lnTo>
                    <a:pt x="2" y="52"/>
                  </a:lnTo>
                  <a:lnTo>
                    <a:pt x="9" y="35"/>
                  </a:lnTo>
                  <a:lnTo>
                    <a:pt x="20" y="20"/>
                  </a:lnTo>
                  <a:lnTo>
                    <a:pt x="35" y="9"/>
                  </a:lnTo>
                  <a:lnTo>
                    <a:pt x="51" y="3"/>
                  </a:lnTo>
                  <a:lnTo>
                    <a:pt x="6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27" name="Freeform 40">
              <a:extLst>
                <a:ext uri="{FF2B5EF4-FFF2-40B4-BE49-F238E27FC236}">
                  <a16:creationId xmlns:a16="http://schemas.microsoft.com/office/drawing/2014/main" id="{8B5E4024-01E9-4B9D-B512-C7FBBA854D6B}"/>
                </a:ext>
              </a:extLst>
            </p:cNvPr>
            <p:cNvSpPr>
              <a:spLocks/>
            </p:cNvSpPr>
            <p:nvPr/>
          </p:nvSpPr>
          <p:spPr bwMode="auto">
            <a:xfrm>
              <a:off x="2833688" y="1927225"/>
              <a:ext cx="77788" cy="31750"/>
            </a:xfrm>
            <a:custGeom>
              <a:avLst/>
              <a:gdLst>
                <a:gd name="T0" fmla="*/ 70 w 348"/>
                <a:gd name="T1" fmla="*/ 0 h 139"/>
                <a:gd name="T2" fmla="*/ 278 w 348"/>
                <a:gd name="T3" fmla="*/ 0 h 139"/>
                <a:gd name="T4" fmla="*/ 297 w 348"/>
                <a:gd name="T5" fmla="*/ 4 h 139"/>
                <a:gd name="T6" fmla="*/ 314 w 348"/>
                <a:gd name="T7" fmla="*/ 10 h 139"/>
                <a:gd name="T8" fmla="*/ 327 w 348"/>
                <a:gd name="T9" fmla="*/ 21 h 139"/>
                <a:gd name="T10" fmla="*/ 337 w 348"/>
                <a:gd name="T11" fmla="*/ 35 h 139"/>
                <a:gd name="T12" fmla="*/ 345 w 348"/>
                <a:gd name="T13" fmla="*/ 51 h 139"/>
                <a:gd name="T14" fmla="*/ 348 w 348"/>
                <a:gd name="T15" fmla="*/ 70 h 139"/>
                <a:gd name="T16" fmla="*/ 345 w 348"/>
                <a:gd name="T17" fmla="*/ 88 h 139"/>
                <a:gd name="T18" fmla="*/ 337 w 348"/>
                <a:gd name="T19" fmla="*/ 104 h 139"/>
                <a:gd name="T20" fmla="*/ 327 w 348"/>
                <a:gd name="T21" fmla="*/ 119 h 139"/>
                <a:gd name="T22" fmla="*/ 314 w 348"/>
                <a:gd name="T23" fmla="*/ 129 h 139"/>
                <a:gd name="T24" fmla="*/ 297 w 348"/>
                <a:gd name="T25" fmla="*/ 137 h 139"/>
                <a:gd name="T26" fmla="*/ 278 w 348"/>
                <a:gd name="T27" fmla="*/ 139 h 139"/>
                <a:gd name="T28" fmla="*/ 70 w 348"/>
                <a:gd name="T29" fmla="*/ 139 h 139"/>
                <a:gd name="T30" fmla="*/ 52 w 348"/>
                <a:gd name="T31" fmla="*/ 137 h 139"/>
                <a:gd name="T32" fmla="*/ 34 w 348"/>
                <a:gd name="T33" fmla="*/ 129 h 139"/>
                <a:gd name="T34" fmla="*/ 21 w 348"/>
                <a:gd name="T35" fmla="*/ 119 h 139"/>
                <a:gd name="T36" fmla="*/ 10 w 348"/>
                <a:gd name="T37" fmla="*/ 104 h 139"/>
                <a:gd name="T38" fmla="*/ 3 w 348"/>
                <a:gd name="T39" fmla="*/ 88 h 139"/>
                <a:gd name="T40" fmla="*/ 0 w 348"/>
                <a:gd name="T41" fmla="*/ 70 h 139"/>
                <a:gd name="T42" fmla="*/ 3 w 348"/>
                <a:gd name="T43" fmla="*/ 51 h 139"/>
                <a:gd name="T44" fmla="*/ 10 w 348"/>
                <a:gd name="T45" fmla="*/ 35 h 139"/>
                <a:gd name="T46" fmla="*/ 21 w 348"/>
                <a:gd name="T47" fmla="*/ 21 h 139"/>
                <a:gd name="T48" fmla="*/ 34 w 348"/>
                <a:gd name="T49" fmla="*/ 10 h 139"/>
                <a:gd name="T50" fmla="*/ 52 w 348"/>
                <a:gd name="T51" fmla="*/ 4 h 139"/>
                <a:gd name="T52" fmla="*/ 70 w 348"/>
                <a:gd name="T5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139">
                  <a:moveTo>
                    <a:pt x="70" y="0"/>
                  </a:moveTo>
                  <a:lnTo>
                    <a:pt x="278" y="0"/>
                  </a:lnTo>
                  <a:lnTo>
                    <a:pt x="297" y="4"/>
                  </a:lnTo>
                  <a:lnTo>
                    <a:pt x="314" y="10"/>
                  </a:lnTo>
                  <a:lnTo>
                    <a:pt x="327" y="21"/>
                  </a:lnTo>
                  <a:lnTo>
                    <a:pt x="337" y="35"/>
                  </a:lnTo>
                  <a:lnTo>
                    <a:pt x="345" y="51"/>
                  </a:lnTo>
                  <a:lnTo>
                    <a:pt x="348" y="70"/>
                  </a:lnTo>
                  <a:lnTo>
                    <a:pt x="345" y="88"/>
                  </a:lnTo>
                  <a:lnTo>
                    <a:pt x="337" y="104"/>
                  </a:lnTo>
                  <a:lnTo>
                    <a:pt x="327" y="119"/>
                  </a:lnTo>
                  <a:lnTo>
                    <a:pt x="314" y="129"/>
                  </a:lnTo>
                  <a:lnTo>
                    <a:pt x="297" y="137"/>
                  </a:lnTo>
                  <a:lnTo>
                    <a:pt x="278" y="139"/>
                  </a:lnTo>
                  <a:lnTo>
                    <a:pt x="70" y="139"/>
                  </a:lnTo>
                  <a:lnTo>
                    <a:pt x="52" y="137"/>
                  </a:lnTo>
                  <a:lnTo>
                    <a:pt x="34" y="129"/>
                  </a:lnTo>
                  <a:lnTo>
                    <a:pt x="21" y="119"/>
                  </a:lnTo>
                  <a:lnTo>
                    <a:pt x="10" y="104"/>
                  </a:lnTo>
                  <a:lnTo>
                    <a:pt x="3" y="88"/>
                  </a:lnTo>
                  <a:lnTo>
                    <a:pt x="0" y="70"/>
                  </a:lnTo>
                  <a:lnTo>
                    <a:pt x="3" y="51"/>
                  </a:lnTo>
                  <a:lnTo>
                    <a:pt x="10" y="35"/>
                  </a:lnTo>
                  <a:lnTo>
                    <a:pt x="21" y="21"/>
                  </a:lnTo>
                  <a:lnTo>
                    <a:pt x="34" y="10"/>
                  </a:lnTo>
                  <a:lnTo>
                    <a:pt x="52" y="4"/>
                  </a:lnTo>
                  <a:lnTo>
                    <a:pt x="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29" name="Freeform 41">
              <a:extLst>
                <a:ext uri="{FF2B5EF4-FFF2-40B4-BE49-F238E27FC236}">
                  <a16:creationId xmlns:a16="http://schemas.microsoft.com/office/drawing/2014/main" id="{D0812105-B12B-46C7-82C6-977A563565E4}"/>
                </a:ext>
              </a:extLst>
            </p:cNvPr>
            <p:cNvSpPr>
              <a:spLocks/>
            </p:cNvSpPr>
            <p:nvPr/>
          </p:nvSpPr>
          <p:spPr bwMode="auto">
            <a:xfrm>
              <a:off x="2792413" y="1751013"/>
              <a:ext cx="71438" cy="55562"/>
            </a:xfrm>
            <a:custGeom>
              <a:avLst/>
              <a:gdLst>
                <a:gd name="T0" fmla="*/ 250 w 319"/>
                <a:gd name="T1" fmla="*/ 0 h 241"/>
                <a:gd name="T2" fmla="*/ 268 w 319"/>
                <a:gd name="T3" fmla="*/ 3 h 241"/>
                <a:gd name="T4" fmla="*/ 284 w 319"/>
                <a:gd name="T5" fmla="*/ 9 h 241"/>
                <a:gd name="T6" fmla="*/ 298 w 319"/>
                <a:gd name="T7" fmla="*/ 20 h 241"/>
                <a:gd name="T8" fmla="*/ 310 w 319"/>
                <a:gd name="T9" fmla="*/ 34 h 241"/>
                <a:gd name="T10" fmla="*/ 316 w 319"/>
                <a:gd name="T11" fmla="*/ 51 h 241"/>
                <a:gd name="T12" fmla="*/ 319 w 319"/>
                <a:gd name="T13" fmla="*/ 69 h 241"/>
                <a:gd name="T14" fmla="*/ 316 w 319"/>
                <a:gd name="T15" fmla="*/ 87 h 241"/>
                <a:gd name="T16" fmla="*/ 310 w 319"/>
                <a:gd name="T17" fmla="*/ 103 h 241"/>
                <a:gd name="T18" fmla="*/ 299 w 319"/>
                <a:gd name="T19" fmla="*/ 118 h 241"/>
                <a:gd name="T20" fmla="*/ 285 w 319"/>
                <a:gd name="T21" fmla="*/ 129 h 241"/>
                <a:gd name="T22" fmla="*/ 104 w 319"/>
                <a:gd name="T23" fmla="*/ 231 h 241"/>
                <a:gd name="T24" fmla="*/ 87 w 319"/>
                <a:gd name="T25" fmla="*/ 239 h 241"/>
                <a:gd name="T26" fmla="*/ 69 w 319"/>
                <a:gd name="T27" fmla="*/ 241 h 241"/>
                <a:gd name="T28" fmla="*/ 52 w 319"/>
                <a:gd name="T29" fmla="*/ 239 h 241"/>
                <a:gd name="T30" fmla="*/ 35 w 319"/>
                <a:gd name="T31" fmla="*/ 232 h 241"/>
                <a:gd name="T32" fmla="*/ 20 w 319"/>
                <a:gd name="T33" fmla="*/ 221 h 241"/>
                <a:gd name="T34" fmla="*/ 9 w 319"/>
                <a:gd name="T35" fmla="*/ 206 h 241"/>
                <a:gd name="T36" fmla="*/ 2 w 319"/>
                <a:gd name="T37" fmla="*/ 190 h 241"/>
                <a:gd name="T38" fmla="*/ 0 w 319"/>
                <a:gd name="T39" fmla="*/ 172 h 241"/>
                <a:gd name="T40" fmla="*/ 2 w 319"/>
                <a:gd name="T41" fmla="*/ 155 h 241"/>
                <a:gd name="T42" fmla="*/ 9 w 319"/>
                <a:gd name="T43" fmla="*/ 138 h 241"/>
                <a:gd name="T44" fmla="*/ 20 w 319"/>
                <a:gd name="T45" fmla="*/ 124 h 241"/>
                <a:gd name="T46" fmla="*/ 34 w 319"/>
                <a:gd name="T47" fmla="*/ 112 h 241"/>
                <a:gd name="T48" fmla="*/ 214 w 319"/>
                <a:gd name="T49" fmla="*/ 9 h 241"/>
                <a:gd name="T50" fmla="*/ 233 w 319"/>
                <a:gd name="T51" fmla="*/ 3 h 241"/>
                <a:gd name="T52" fmla="*/ 250 w 319"/>
                <a:gd name="T53"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9" h="241">
                  <a:moveTo>
                    <a:pt x="250" y="0"/>
                  </a:moveTo>
                  <a:lnTo>
                    <a:pt x="268" y="3"/>
                  </a:lnTo>
                  <a:lnTo>
                    <a:pt x="284" y="9"/>
                  </a:lnTo>
                  <a:lnTo>
                    <a:pt x="298" y="20"/>
                  </a:lnTo>
                  <a:lnTo>
                    <a:pt x="310" y="34"/>
                  </a:lnTo>
                  <a:lnTo>
                    <a:pt x="316" y="51"/>
                  </a:lnTo>
                  <a:lnTo>
                    <a:pt x="319" y="69"/>
                  </a:lnTo>
                  <a:lnTo>
                    <a:pt x="316" y="87"/>
                  </a:lnTo>
                  <a:lnTo>
                    <a:pt x="310" y="103"/>
                  </a:lnTo>
                  <a:lnTo>
                    <a:pt x="299" y="118"/>
                  </a:lnTo>
                  <a:lnTo>
                    <a:pt x="285" y="129"/>
                  </a:lnTo>
                  <a:lnTo>
                    <a:pt x="104" y="231"/>
                  </a:lnTo>
                  <a:lnTo>
                    <a:pt x="87" y="239"/>
                  </a:lnTo>
                  <a:lnTo>
                    <a:pt x="69" y="241"/>
                  </a:lnTo>
                  <a:lnTo>
                    <a:pt x="52" y="239"/>
                  </a:lnTo>
                  <a:lnTo>
                    <a:pt x="35" y="232"/>
                  </a:lnTo>
                  <a:lnTo>
                    <a:pt x="20" y="221"/>
                  </a:lnTo>
                  <a:lnTo>
                    <a:pt x="9" y="206"/>
                  </a:lnTo>
                  <a:lnTo>
                    <a:pt x="2" y="190"/>
                  </a:lnTo>
                  <a:lnTo>
                    <a:pt x="0" y="172"/>
                  </a:lnTo>
                  <a:lnTo>
                    <a:pt x="2" y="155"/>
                  </a:lnTo>
                  <a:lnTo>
                    <a:pt x="9" y="138"/>
                  </a:lnTo>
                  <a:lnTo>
                    <a:pt x="20" y="124"/>
                  </a:lnTo>
                  <a:lnTo>
                    <a:pt x="34" y="112"/>
                  </a:lnTo>
                  <a:lnTo>
                    <a:pt x="214" y="9"/>
                  </a:lnTo>
                  <a:lnTo>
                    <a:pt x="233" y="3"/>
                  </a:lnTo>
                  <a:lnTo>
                    <a:pt x="2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30" name="Freeform 42">
              <a:extLst>
                <a:ext uri="{FF2B5EF4-FFF2-40B4-BE49-F238E27FC236}">
                  <a16:creationId xmlns:a16="http://schemas.microsoft.com/office/drawing/2014/main" id="{47FF193F-DAEC-44B8-803F-9524F8C68511}"/>
                </a:ext>
              </a:extLst>
            </p:cNvPr>
            <p:cNvSpPr>
              <a:spLocks/>
            </p:cNvSpPr>
            <p:nvPr/>
          </p:nvSpPr>
          <p:spPr bwMode="auto">
            <a:xfrm>
              <a:off x="2679700" y="1622425"/>
              <a:ext cx="55563" cy="71437"/>
            </a:xfrm>
            <a:custGeom>
              <a:avLst/>
              <a:gdLst>
                <a:gd name="T0" fmla="*/ 172 w 243"/>
                <a:gd name="T1" fmla="*/ 0 h 316"/>
                <a:gd name="T2" fmla="*/ 191 w 243"/>
                <a:gd name="T3" fmla="*/ 2 h 316"/>
                <a:gd name="T4" fmla="*/ 208 w 243"/>
                <a:gd name="T5" fmla="*/ 10 h 316"/>
                <a:gd name="T6" fmla="*/ 222 w 243"/>
                <a:gd name="T7" fmla="*/ 21 h 316"/>
                <a:gd name="T8" fmla="*/ 234 w 243"/>
                <a:gd name="T9" fmla="*/ 34 h 316"/>
                <a:gd name="T10" fmla="*/ 241 w 243"/>
                <a:gd name="T11" fmla="*/ 51 h 316"/>
                <a:gd name="T12" fmla="*/ 243 w 243"/>
                <a:gd name="T13" fmla="*/ 68 h 316"/>
                <a:gd name="T14" fmla="*/ 241 w 243"/>
                <a:gd name="T15" fmla="*/ 86 h 316"/>
                <a:gd name="T16" fmla="*/ 234 w 243"/>
                <a:gd name="T17" fmla="*/ 103 h 316"/>
                <a:gd name="T18" fmla="*/ 129 w 243"/>
                <a:gd name="T19" fmla="*/ 282 h 316"/>
                <a:gd name="T20" fmla="*/ 118 w 243"/>
                <a:gd name="T21" fmla="*/ 297 h 316"/>
                <a:gd name="T22" fmla="*/ 103 w 243"/>
                <a:gd name="T23" fmla="*/ 308 h 316"/>
                <a:gd name="T24" fmla="*/ 87 w 243"/>
                <a:gd name="T25" fmla="*/ 314 h 316"/>
                <a:gd name="T26" fmla="*/ 69 w 243"/>
                <a:gd name="T27" fmla="*/ 316 h 316"/>
                <a:gd name="T28" fmla="*/ 52 w 243"/>
                <a:gd name="T29" fmla="*/ 314 h 316"/>
                <a:gd name="T30" fmla="*/ 35 w 243"/>
                <a:gd name="T31" fmla="*/ 307 h 316"/>
                <a:gd name="T32" fmla="*/ 19 w 243"/>
                <a:gd name="T33" fmla="*/ 296 h 316"/>
                <a:gd name="T34" fmla="*/ 9 w 243"/>
                <a:gd name="T35" fmla="*/ 282 h 316"/>
                <a:gd name="T36" fmla="*/ 2 w 243"/>
                <a:gd name="T37" fmla="*/ 265 h 316"/>
                <a:gd name="T38" fmla="*/ 0 w 243"/>
                <a:gd name="T39" fmla="*/ 248 h 316"/>
                <a:gd name="T40" fmla="*/ 2 w 243"/>
                <a:gd name="T41" fmla="*/ 230 h 316"/>
                <a:gd name="T42" fmla="*/ 9 w 243"/>
                <a:gd name="T43" fmla="*/ 214 h 316"/>
                <a:gd name="T44" fmla="*/ 113 w 243"/>
                <a:gd name="T45" fmla="*/ 34 h 316"/>
                <a:gd name="T46" fmla="*/ 125 w 243"/>
                <a:gd name="T47" fmla="*/ 20 h 316"/>
                <a:gd name="T48" fmla="*/ 140 w 243"/>
                <a:gd name="T49" fmla="*/ 9 h 316"/>
                <a:gd name="T50" fmla="*/ 155 w 243"/>
                <a:gd name="T51" fmla="*/ 2 h 316"/>
                <a:gd name="T52" fmla="*/ 172 w 243"/>
                <a:gd name="T53"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3" h="316">
                  <a:moveTo>
                    <a:pt x="172" y="0"/>
                  </a:moveTo>
                  <a:lnTo>
                    <a:pt x="191" y="2"/>
                  </a:lnTo>
                  <a:lnTo>
                    <a:pt x="208" y="10"/>
                  </a:lnTo>
                  <a:lnTo>
                    <a:pt x="222" y="21"/>
                  </a:lnTo>
                  <a:lnTo>
                    <a:pt x="234" y="34"/>
                  </a:lnTo>
                  <a:lnTo>
                    <a:pt x="241" y="51"/>
                  </a:lnTo>
                  <a:lnTo>
                    <a:pt x="243" y="68"/>
                  </a:lnTo>
                  <a:lnTo>
                    <a:pt x="241" y="86"/>
                  </a:lnTo>
                  <a:lnTo>
                    <a:pt x="234" y="103"/>
                  </a:lnTo>
                  <a:lnTo>
                    <a:pt x="129" y="282"/>
                  </a:lnTo>
                  <a:lnTo>
                    <a:pt x="118" y="297"/>
                  </a:lnTo>
                  <a:lnTo>
                    <a:pt x="103" y="308"/>
                  </a:lnTo>
                  <a:lnTo>
                    <a:pt x="87" y="314"/>
                  </a:lnTo>
                  <a:lnTo>
                    <a:pt x="69" y="316"/>
                  </a:lnTo>
                  <a:lnTo>
                    <a:pt x="52" y="314"/>
                  </a:lnTo>
                  <a:lnTo>
                    <a:pt x="35" y="307"/>
                  </a:lnTo>
                  <a:lnTo>
                    <a:pt x="19" y="296"/>
                  </a:lnTo>
                  <a:lnTo>
                    <a:pt x="9" y="282"/>
                  </a:lnTo>
                  <a:lnTo>
                    <a:pt x="2" y="265"/>
                  </a:lnTo>
                  <a:lnTo>
                    <a:pt x="0" y="248"/>
                  </a:lnTo>
                  <a:lnTo>
                    <a:pt x="2" y="230"/>
                  </a:lnTo>
                  <a:lnTo>
                    <a:pt x="9" y="214"/>
                  </a:lnTo>
                  <a:lnTo>
                    <a:pt x="113" y="34"/>
                  </a:lnTo>
                  <a:lnTo>
                    <a:pt x="125" y="20"/>
                  </a:lnTo>
                  <a:lnTo>
                    <a:pt x="140" y="9"/>
                  </a:lnTo>
                  <a:lnTo>
                    <a:pt x="155" y="2"/>
                  </a:lnTo>
                  <a:lnTo>
                    <a:pt x="1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31" name="Freeform 43">
              <a:extLst>
                <a:ext uri="{FF2B5EF4-FFF2-40B4-BE49-F238E27FC236}">
                  <a16:creationId xmlns:a16="http://schemas.microsoft.com/office/drawing/2014/main" id="{6C5795E8-892D-4878-9118-13CC31FB4E03}"/>
                </a:ext>
              </a:extLst>
            </p:cNvPr>
            <p:cNvSpPr>
              <a:spLocks/>
            </p:cNvSpPr>
            <p:nvPr/>
          </p:nvSpPr>
          <p:spPr bwMode="auto">
            <a:xfrm>
              <a:off x="2503488" y="1811338"/>
              <a:ext cx="76200" cy="242887"/>
            </a:xfrm>
            <a:custGeom>
              <a:avLst/>
              <a:gdLst>
                <a:gd name="T0" fmla="*/ 167 w 334"/>
                <a:gd name="T1" fmla="*/ 0 h 1073"/>
                <a:gd name="T2" fmla="*/ 201 w 334"/>
                <a:gd name="T3" fmla="*/ 2 h 1073"/>
                <a:gd name="T4" fmla="*/ 230 w 334"/>
                <a:gd name="T5" fmla="*/ 8 h 1073"/>
                <a:gd name="T6" fmla="*/ 258 w 334"/>
                <a:gd name="T7" fmla="*/ 18 h 1073"/>
                <a:gd name="T8" fmla="*/ 280 w 334"/>
                <a:gd name="T9" fmla="*/ 33 h 1073"/>
                <a:gd name="T10" fmla="*/ 300 w 334"/>
                <a:gd name="T11" fmla="*/ 51 h 1073"/>
                <a:gd name="T12" fmla="*/ 314 w 334"/>
                <a:gd name="T13" fmla="*/ 72 h 1073"/>
                <a:gd name="T14" fmla="*/ 326 w 334"/>
                <a:gd name="T15" fmla="*/ 98 h 1073"/>
                <a:gd name="T16" fmla="*/ 331 w 334"/>
                <a:gd name="T17" fmla="*/ 128 h 1073"/>
                <a:gd name="T18" fmla="*/ 334 w 334"/>
                <a:gd name="T19" fmla="*/ 162 h 1073"/>
                <a:gd name="T20" fmla="*/ 334 w 334"/>
                <a:gd name="T21" fmla="*/ 406 h 1073"/>
                <a:gd name="T22" fmla="*/ 332 w 334"/>
                <a:gd name="T23" fmla="*/ 438 h 1073"/>
                <a:gd name="T24" fmla="*/ 329 w 334"/>
                <a:gd name="T25" fmla="*/ 471 h 1073"/>
                <a:gd name="T26" fmla="*/ 326 w 334"/>
                <a:gd name="T27" fmla="*/ 505 h 1073"/>
                <a:gd name="T28" fmla="*/ 260 w 334"/>
                <a:gd name="T29" fmla="*/ 996 h 1073"/>
                <a:gd name="T30" fmla="*/ 255 w 334"/>
                <a:gd name="T31" fmla="*/ 1019 h 1073"/>
                <a:gd name="T32" fmla="*/ 247 w 334"/>
                <a:gd name="T33" fmla="*/ 1039 h 1073"/>
                <a:gd name="T34" fmla="*/ 237 w 334"/>
                <a:gd name="T35" fmla="*/ 1052 h 1073"/>
                <a:gd name="T36" fmla="*/ 224 w 334"/>
                <a:gd name="T37" fmla="*/ 1062 h 1073"/>
                <a:gd name="T38" fmla="*/ 208 w 334"/>
                <a:gd name="T39" fmla="*/ 1069 h 1073"/>
                <a:gd name="T40" fmla="*/ 188 w 334"/>
                <a:gd name="T41" fmla="*/ 1072 h 1073"/>
                <a:gd name="T42" fmla="*/ 167 w 334"/>
                <a:gd name="T43" fmla="*/ 1073 h 1073"/>
                <a:gd name="T44" fmla="*/ 145 w 334"/>
                <a:gd name="T45" fmla="*/ 1072 h 1073"/>
                <a:gd name="T46" fmla="*/ 126 w 334"/>
                <a:gd name="T47" fmla="*/ 1069 h 1073"/>
                <a:gd name="T48" fmla="*/ 110 w 334"/>
                <a:gd name="T49" fmla="*/ 1062 h 1073"/>
                <a:gd name="T50" fmla="*/ 96 w 334"/>
                <a:gd name="T51" fmla="*/ 1052 h 1073"/>
                <a:gd name="T52" fmla="*/ 86 w 334"/>
                <a:gd name="T53" fmla="*/ 1039 h 1073"/>
                <a:gd name="T54" fmla="*/ 78 w 334"/>
                <a:gd name="T55" fmla="*/ 1019 h 1073"/>
                <a:gd name="T56" fmla="*/ 74 w 334"/>
                <a:gd name="T57" fmla="*/ 996 h 1073"/>
                <a:gd name="T58" fmla="*/ 8 w 334"/>
                <a:gd name="T59" fmla="*/ 505 h 1073"/>
                <a:gd name="T60" fmla="*/ 5 w 334"/>
                <a:gd name="T61" fmla="*/ 471 h 1073"/>
                <a:gd name="T62" fmla="*/ 1 w 334"/>
                <a:gd name="T63" fmla="*/ 438 h 1073"/>
                <a:gd name="T64" fmla="*/ 0 w 334"/>
                <a:gd name="T65" fmla="*/ 406 h 1073"/>
                <a:gd name="T66" fmla="*/ 0 w 334"/>
                <a:gd name="T67" fmla="*/ 162 h 1073"/>
                <a:gd name="T68" fmla="*/ 2 w 334"/>
                <a:gd name="T69" fmla="*/ 128 h 1073"/>
                <a:gd name="T70" fmla="*/ 8 w 334"/>
                <a:gd name="T71" fmla="*/ 98 h 1073"/>
                <a:gd name="T72" fmla="*/ 19 w 334"/>
                <a:gd name="T73" fmla="*/ 72 h 1073"/>
                <a:gd name="T74" fmla="*/ 34 w 334"/>
                <a:gd name="T75" fmla="*/ 51 h 1073"/>
                <a:gd name="T76" fmla="*/ 53 w 334"/>
                <a:gd name="T77" fmla="*/ 33 h 1073"/>
                <a:gd name="T78" fmla="*/ 76 w 334"/>
                <a:gd name="T79" fmla="*/ 18 h 1073"/>
                <a:gd name="T80" fmla="*/ 103 w 334"/>
                <a:gd name="T81" fmla="*/ 8 h 1073"/>
                <a:gd name="T82" fmla="*/ 133 w 334"/>
                <a:gd name="T83" fmla="*/ 2 h 1073"/>
                <a:gd name="T84" fmla="*/ 167 w 334"/>
                <a:gd name="T85" fmla="*/ 0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1073">
                  <a:moveTo>
                    <a:pt x="167" y="0"/>
                  </a:moveTo>
                  <a:lnTo>
                    <a:pt x="201" y="2"/>
                  </a:lnTo>
                  <a:lnTo>
                    <a:pt x="230" y="8"/>
                  </a:lnTo>
                  <a:lnTo>
                    <a:pt x="258" y="18"/>
                  </a:lnTo>
                  <a:lnTo>
                    <a:pt x="280" y="33"/>
                  </a:lnTo>
                  <a:lnTo>
                    <a:pt x="300" y="51"/>
                  </a:lnTo>
                  <a:lnTo>
                    <a:pt x="314" y="72"/>
                  </a:lnTo>
                  <a:lnTo>
                    <a:pt x="326" y="98"/>
                  </a:lnTo>
                  <a:lnTo>
                    <a:pt x="331" y="128"/>
                  </a:lnTo>
                  <a:lnTo>
                    <a:pt x="334" y="162"/>
                  </a:lnTo>
                  <a:lnTo>
                    <a:pt x="334" y="406"/>
                  </a:lnTo>
                  <a:lnTo>
                    <a:pt x="332" y="438"/>
                  </a:lnTo>
                  <a:lnTo>
                    <a:pt x="329" y="471"/>
                  </a:lnTo>
                  <a:lnTo>
                    <a:pt x="326" y="505"/>
                  </a:lnTo>
                  <a:lnTo>
                    <a:pt x="260" y="996"/>
                  </a:lnTo>
                  <a:lnTo>
                    <a:pt x="255" y="1019"/>
                  </a:lnTo>
                  <a:lnTo>
                    <a:pt x="247" y="1039"/>
                  </a:lnTo>
                  <a:lnTo>
                    <a:pt x="237" y="1052"/>
                  </a:lnTo>
                  <a:lnTo>
                    <a:pt x="224" y="1062"/>
                  </a:lnTo>
                  <a:lnTo>
                    <a:pt x="208" y="1069"/>
                  </a:lnTo>
                  <a:lnTo>
                    <a:pt x="188" y="1072"/>
                  </a:lnTo>
                  <a:lnTo>
                    <a:pt x="167" y="1073"/>
                  </a:lnTo>
                  <a:lnTo>
                    <a:pt x="145" y="1072"/>
                  </a:lnTo>
                  <a:lnTo>
                    <a:pt x="126" y="1069"/>
                  </a:lnTo>
                  <a:lnTo>
                    <a:pt x="110" y="1062"/>
                  </a:lnTo>
                  <a:lnTo>
                    <a:pt x="96" y="1052"/>
                  </a:lnTo>
                  <a:lnTo>
                    <a:pt x="86" y="1039"/>
                  </a:lnTo>
                  <a:lnTo>
                    <a:pt x="78" y="1019"/>
                  </a:lnTo>
                  <a:lnTo>
                    <a:pt x="74" y="996"/>
                  </a:lnTo>
                  <a:lnTo>
                    <a:pt x="8" y="505"/>
                  </a:lnTo>
                  <a:lnTo>
                    <a:pt x="5" y="471"/>
                  </a:lnTo>
                  <a:lnTo>
                    <a:pt x="1" y="438"/>
                  </a:lnTo>
                  <a:lnTo>
                    <a:pt x="0" y="406"/>
                  </a:lnTo>
                  <a:lnTo>
                    <a:pt x="0" y="162"/>
                  </a:lnTo>
                  <a:lnTo>
                    <a:pt x="2" y="128"/>
                  </a:lnTo>
                  <a:lnTo>
                    <a:pt x="8" y="98"/>
                  </a:lnTo>
                  <a:lnTo>
                    <a:pt x="19" y="72"/>
                  </a:lnTo>
                  <a:lnTo>
                    <a:pt x="34" y="51"/>
                  </a:lnTo>
                  <a:lnTo>
                    <a:pt x="53" y="33"/>
                  </a:lnTo>
                  <a:lnTo>
                    <a:pt x="76" y="18"/>
                  </a:lnTo>
                  <a:lnTo>
                    <a:pt x="103" y="8"/>
                  </a:lnTo>
                  <a:lnTo>
                    <a:pt x="133" y="2"/>
                  </a:lnTo>
                  <a:lnTo>
                    <a:pt x="1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sp>
          <p:nvSpPr>
            <p:cNvPr id="32" name="Freeform 44">
              <a:extLst>
                <a:ext uri="{FF2B5EF4-FFF2-40B4-BE49-F238E27FC236}">
                  <a16:creationId xmlns:a16="http://schemas.microsoft.com/office/drawing/2014/main" id="{0E10CADC-3B7A-4206-9406-D752AE478211}"/>
                </a:ext>
              </a:extLst>
            </p:cNvPr>
            <p:cNvSpPr>
              <a:spLocks/>
            </p:cNvSpPr>
            <p:nvPr/>
          </p:nvSpPr>
          <p:spPr bwMode="auto">
            <a:xfrm>
              <a:off x="2501900" y="2085975"/>
              <a:ext cx="79375" cy="77787"/>
            </a:xfrm>
            <a:custGeom>
              <a:avLst/>
              <a:gdLst>
                <a:gd name="T0" fmla="*/ 174 w 347"/>
                <a:gd name="T1" fmla="*/ 0 h 344"/>
                <a:gd name="T2" fmla="*/ 209 w 347"/>
                <a:gd name="T3" fmla="*/ 4 h 344"/>
                <a:gd name="T4" fmla="*/ 241 w 347"/>
                <a:gd name="T5" fmla="*/ 14 h 344"/>
                <a:gd name="T6" fmla="*/ 270 w 347"/>
                <a:gd name="T7" fmla="*/ 30 h 344"/>
                <a:gd name="T8" fmla="*/ 296 w 347"/>
                <a:gd name="T9" fmla="*/ 50 h 344"/>
                <a:gd name="T10" fmla="*/ 318 w 347"/>
                <a:gd name="T11" fmla="*/ 76 h 344"/>
                <a:gd name="T12" fmla="*/ 334 w 347"/>
                <a:gd name="T13" fmla="*/ 106 h 344"/>
                <a:gd name="T14" fmla="*/ 344 w 347"/>
                <a:gd name="T15" fmla="*/ 138 h 344"/>
                <a:gd name="T16" fmla="*/ 347 w 347"/>
                <a:gd name="T17" fmla="*/ 172 h 344"/>
                <a:gd name="T18" fmla="*/ 344 w 347"/>
                <a:gd name="T19" fmla="*/ 207 h 344"/>
                <a:gd name="T20" fmla="*/ 334 w 347"/>
                <a:gd name="T21" fmla="*/ 240 h 344"/>
                <a:gd name="T22" fmla="*/ 318 w 347"/>
                <a:gd name="T23" fmla="*/ 269 h 344"/>
                <a:gd name="T24" fmla="*/ 296 w 347"/>
                <a:gd name="T25" fmla="*/ 294 h 344"/>
                <a:gd name="T26" fmla="*/ 270 w 347"/>
                <a:gd name="T27" fmla="*/ 315 h 344"/>
                <a:gd name="T28" fmla="*/ 241 w 347"/>
                <a:gd name="T29" fmla="*/ 331 h 344"/>
                <a:gd name="T30" fmla="*/ 209 w 347"/>
                <a:gd name="T31" fmla="*/ 341 h 344"/>
                <a:gd name="T32" fmla="*/ 174 w 347"/>
                <a:gd name="T33" fmla="*/ 344 h 344"/>
                <a:gd name="T34" fmla="*/ 139 w 347"/>
                <a:gd name="T35" fmla="*/ 341 h 344"/>
                <a:gd name="T36" fmla="*/ 107 w 347"/>
                <a:gd name="T37" fmla="*/ 331 h 344"/>
                <a:gd name="T38" fmla="*/ 77 w 347"/>
                <a:gd name="T39" fmla="*/ 315 h 344"/>
                <a:gd name="T40" fmla="*/ 51 w 347"/>
                <a:gd name="T41" fmla="*/ 294 h 344"/>
                <a:gd name="T42" fmla="*/ 30 w 347"/>
                <a:gd name="T43" fmla="*/ 269 h 344"/>
                <a:gd name="T44" fmla="*/ 14 w 347"/>
                <a:gd name="T45" fmla="*/ 240 h 344"/>
                <a:gd name="T46" fmla="*/ 4 w 347"/>
                <a:gd name="T47" fmla="*/ 207 h 344"/>
                <a:gd name="T48" fmla="*/ 0 w 347"/>
                <a:gd name="T49" fmla="*/ 172 h 344"/>
                <a:gd name="T50" fmla="*/ 4 w 347"/>
                <a:gd name="T51" fmla="*/ 138 h 344"/>
                <a:gd name="T52" fmla="*/ 14 w 347"/>
                <a:gd name="T53" fmla="*/ 106 h 344"/>
                <a:gd name="T54" fmla="*/ 30 w 347"/>
                <a:gd name="T55" fmla="*/ 76 h 344"/>
                <a:gd name="T56" fmla="*/ 51 w 347"/>
                <a:gd name="T57" fmla="*/ 50 h 344"/>
                <a:gd name="T58" fmla="*/ 77 w 347"/>
                <a:gd name="T59" fmla="*/ 30 h 344"/>
                <a:gd name="T60" fmla="*/ 107 w 347"/>
                <a:gd name="T61" fmla="*/ 14 h 344"/>
                <a:gd name="T62" fmla="*/ 139 w 347"/>
                <a:gd name="T63" fmla="*/ 4 h 344"/>
                <a:gd name="T64" fmla="*/ 174 w 347"/>
                <a:gd name="T65" fmla="*/ 0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7" h="344">
                  <a:moveTo>
                    <a:pt x="174" y="0"/>
                  </a:moveTo>
                  <a:lnTo>
                    <a:pt x="209" y="4"/>
                  </a:lnTo>
                  <a:lnTo>
                    <a:pt x="241" y="14"/>
                  </a:lnTo>
                  <a:lnTo>
                    <a:pt x="270" y="30"/>
                  </a:lnTo>
                  <a:lnTo>
                    <a:pt x="296" y="50"/>
                  </a:lnTo>
                  <a:lnTo>
                    <a:pt x="318" y="76"/>
                  </a:lnTo>
                  <a:lnTo>
                    <a:pt x="334" y="106"/>
                  </a:lnTo>
                  <a:lnTo>
                    <a:pt x="344" y="138"/>
                  </a:lnTo>
                  <a:lnTo>
                    <a:pt x="347" y="172"/>
                  </a:lnTo>
                  <a:lnTo>
                    <a:pt x="344" y="207"/>
                  </a:lnTo>
                  <a:lnTo>
                    <a:pt x="334" y="240"/>
                  </a:lnTo>
                  <a:lnTo>
                    <a:pt x="318" y="269"/>
                  </a:lnTo>
                  <a:lnTo>
                    <a:pt x="296" y="294"/>
                  </a:lnTo>
                  <a:lnTo>
                    <a:pt x="270" y="315"/>
                  </a:lnTo>
                  <a:lnTo>
                    <a:pt x="241" y="331"/>
                  </a:lnTo>
                  <a:lnTo>
                    <a:pt x="209" y="341"/>
                  </a:lnTo>
                  <a:lnTo>
                    <a:pt x="174" y="344"/>
                  </a:lnTo>
                  <a:lnTo>
                    <a:pt x="139" y="341"/>
                  </a:lnTo>
                  <a:lnTo>
                    <a:pt x="107" y="331"/>
                  </a:lnTo>
                  <a:lnTo>
                    <a:pt x="77" y="315"/>
                  </a:lnTo>
                  <a:lnTo>
                    <a:pt x="51" y="294"/>
                  </a:lnTo>
                  <a:lnTo>
                    <a:pt x="30" y="269"/>
                  </a:lnTo>
                  <a:lnTo>
                    <a:pt x="14" y="240"/>
                  </a:lnTo>
                  <a:lnTo>
                    <a:pt x="4" y="207"/>
                  </a:lnTo>
                  <a:lnTo>
                    <a:pt x="0" y="172"/>
                  </a:lnTo>
                  <a:lnTo>
                    <a:pt x="4" y="138"/>
                  </a:lnTo>
                  <a:lnTo>
                    <a:pt x="14" y="106"/>
                  </a:lnTo>
                  <a:lnTo>
                    <a:pt x="30" y="76"/>
                  </a:lnTo>
                  <a:lnTo>
                    <a:pt x="51" y="50"/>
                  </a:lnTo>
                  <a:lnTo>
                    <a:pt x="77" y="30"/>
                  </a:lnTo>
                  <a:lnTo>
                    <a:pt x="107" y="14"/>
                  </a:lnTo>
                  <a:lnTo>
                    <a:pt x="139" y="4"/>
                  </a:lnTo>
                  <a:lnTo>
                    <a:pt x="17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cs typeface="Arial" panose="020B0604020202020204" pitchFamily="34" charset="0"/>
              </a:endParaRPr>
            </a:p>
          </p:txBody>
        </p:sp>
      </p:grpSp>
      <p:pic>
        <p:nvPicPr>
          <p:cNvPr id="48" name="Picture 47">
            <a:extLst>
              <a:ext uri="{FF2B5EF4-FFF2-40B4-BE49-F238E27FC236}">
                <a16:creationId xmlns:a16="http://schemas.microsoft.com/office/drawing/2014/main" id="{CD8EF667-7999-4294-9942-D211A8C6596F}"/>
              </a:ext>
            </a:extLst>
          </p:cNvPr>
          <p:cNvPicPr>
            <a:picLocks noChangeAspect="1"/>
          </p:cNvPicPr>
          <p:nvPr/>
        </p:nvPicPr>
        <p:blipFill>
          <a:blip r:embed="rId2">
            <a:alphaModFix amt="50000"/>
          </a:blip>
          <a:stretch>
            <a:fillRect/>
          </a:stretch>
        </p:blipFill>
        <p:spPr>
          <a:xfrm>
            <a:off x="3709535" y="982714"/>
            <a:ext cx="4194556" cy="3384374"/>
          </a:xfrm>
          <a:prstGeom prst="rect">
            <a:avLst/>
          </a:prstGeom>
        </p:spPr>
      </p:pic>
      <p:sp>
        <p:nvSpPr>
          <p:cNvPr id="56" name="Title 1">
            <a:extLst>
              <a:ext uri="{FF2B5EF4-FFF2-40B4-BE49-F238E27FC236}">
                <a16:creationId xmlns:a16="http://schemas.microsoft.com/office/drawing/2014/main" id="{5E69D4DB-F648-4DD9-9F1B-50EB410F5A72}"/>
              </a:ext>
            </a:extLst>
          </p:cNvPr>
          <p:cNvSpPr txBox="1">
            <a:spLocks/>
          </p:cNvSpPr>
          <p:nvPr/>
        </p:nvSpPr>
        <p:spPr>
          <a:xfrm>
            <a:off x="170793" y="278333"/>
            <a:ext cx="10515600" cy="4297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000" b="1" i="0" kern="1200">
                <a:solidFill>
                  <a:srgbClr val="94175D"/>
                </a:solidFill>
                <a:latin typeface="Arial" charset="0"/>
                <a:ea typeface="Arial" charset="0"/>
                <a:cs typeface="Arial" charset="0"/>
              </a:defRPr>
            </a:lvl1pPr>
          </a:lstStyle>
          <a:p>
            <a:r>
              <a:rPr lang="en-US" sz="2800" dirty="0">
                <a:solidFill>
                  <a:schemeClr val="tx1"/>
                </a:solidFill>
              </a:rPr>
              <a:t>Sample Social Media Post Framework </a:t>
            </a:r>
            <a:endParaRPr lang="en-US" dirty="0">
              <a:solidFill>
                <a:schemeClr val="tx2"/>
              </a:solidFill>
            </a:endParaRPr>
          </a:p>
        </p:txBody>
      </p:sp>
      <p:grpSp>
        <p:nvGrpSpPr>
          <p:cNvPr id="85" name="Group 84">
            <a:extLst>
              <a:ext uri="{FF2B5EF4-FFF2-40B4-BE49-F238E27FC236}">
                <a16:creationId xmlns:a16="http://schemas.microsoft.com/office/drawing/2014/main" id="{A0BA986C-BC05-4C7B-959E-B9448399A3AA}"/>
              </a:ext>
            </a:extLst>
          </p:cNvPr>
          <p:cNvGrpSpPr/>
          <p:nvPr/>
        </p:nvGrpSpPr>
        <p:grpSpPr>
          <a:xfrm>
            <a:off x="1200358" y="848455"/>
            <a:ext cx="10489334" cy="4358166"/>
            <a:chOff x="1287660" y="765266"/>
            <a:chExt cx="10489334" cy="4358166"/>
          </a:xfrm>
        </p:grpSpPr>
        <p:grpSp>
          <p:nvGrpSpPr>
            <p:cNvPr id="49" name="Group 48">
              <a:extLst>
                <a:ext uri="{FF2B5EF4-FFF2-40B4-BE49-F238E27FC236}">
                  <a16:creationId xmlns:a16="http://schemas.microsoft.com/office/drawing/2014/main" id="{38A3E218-7751-487D-B8FB-811E46B2902A}"/>
                </a:ext>
              </a:extLst>
            </p:cNvPr>
            <p:cNvGrpSpPr/>
            <p:nvPr/>
          </p:nvGrpSpPr>
          <p:grpSpPr>
            <a:xfrm>
              <a:off x="3944650" y="765266"/>
              <a:ext cx="4926010" cy="3971056"/>
              <a:chOff x="-289072" y="1992623"/>
              <a:chExt cx="4926010" cy="3971056"/>
            </a:xfrm>
          </p:grpSpPr>
          <p:grpSp>
            <p:nvGrpSpPr>
              <p:cNvPr id="50" name="Group 49">
                <a:extLst>
                  <a:ext uri="{FF2B5EF4-FFF2-40B4-BE49-F238E27FC236}">
                    <a16:creationId xmlns:a16="http://schemas.microsoft.com/office/drawing/2014/main" id="{2FF87F8C-2D2B-4D16-A7EE-D7DB7259FC13}"/>
                  </a:ext>
                </a:extLst>
              </p:cNvPr>
              <p:cNvGrpSpPr/>
              <p:nvPr/>
            </p:nvGrpSpPr>
            <p:grpSpPr>
              <a:xfrm>
                <a:off x="-147965" y="2656810"/>
                <a:ext cx="3873548" cy="3306869"/>
                <a:chOff x="-394970" y="2091364"/>
                <a:chExt cx="3873548" cy="3306869"/>
              </a:xfrm>
            </p:grpSpPr>
            <p:pic>
              <p:nvPicPr>
                <p:cNvPr id="52" name="Picture 51">
                  <a:extLst>
                    <a:ext uri="{FF2B5EF4-FFF2-40B4-BE49-F238E27FC236}">
                      <a16:creationId xmlns:a16="http://schemas.microsoft.com/office/drawing/2014/main" id="{F3B2AA5F-A076-4BB2-8951-F7B3A059FDA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94970" y="5111836"/>
                  <a:ext cx="2399813" cy="286397"/>
                </a:xfrm>
                <a:prstGeom prst="rect">
                  <a:avLst/>
                </a:prstGeom>
              </p:spPr>
            </p:pic>
            <p:sp>
              <p:nvSpPr>
                <p:cNvPr id="53" name="TextBox 52">
                  <a:extLst>
                    <a:ext uri="{FF2B5EF4-FFF2-40B4-BE49-F238E27FC236}">
                      <a16:creationId xmlns:a16="http://schemas.microsoft.com/office/drawing/2014/main" id="{4EC6D48F-3CB3-4728-9FA5-05977632F36E}"/>
                    </a:ext>
                  </a:extLst>
                </p:cNvPr>
                <p:cNvSpPr txBox="1"/>
                <p:nvPr/>
              </p:nvSpPr>
              <p:spPr>
                <a:xfrm>
                  <a:off x="-303965" y="2091364"/>
                  <a:ext cx="3782543" cy="2800767"/>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Many heart failure hospitalizations are preventable and present a major burden to patients, caregivers and the healthcare system. Today, we are launching the Heart Failure Charter to address key unmet needs. </a:t>
                  </a:r>
                  <a:br>
                    <a:rPr lang="en-US" dirty="0">
                      <a:latin typeface="Arial" panose="020B0604020202020204" pitchFamily="34" charset="0"/>
                      <a:cs typeface="Arial" panose="020B0604020202020204" pitchFamily="34" charset="0"/>
                    </a:rPr>
                  </a:br>
                  <a:r>
                    <a:rPr lang="en-US" u="sng" dirty="0">
                      <a:solidFill>
                        <a:srgbClr val="3881BB"/>
                      </a:solidFill>
                      <a:latin typeface="Arial" panose="020B0604020202020204" pitchFamily="34" charset="0"/>
                      <a:cs typeface="Arial" panose="020B0604020202020204" pitchFamily="34" charset="0"/>
                    </a:rPr>
                    <a:t>http://bit.ly/[INSERT LINK]</a:t>
                  </a:r>
                  <a:br>
                    <a:rPr lang="en-US" sz="1400" dirty="0">
                      <a:solidFill>
                        <a:schemeClr val="bg2">
                          <a:lumMod val="25000"/>
                        </a:schemeClr>
                      </a:solidFill>
                      <a:latin typeface="Arial" panose="020B0604020202020204" pitchFamily="34" charset="0"/>
                      <a:cs typeface="Arial" panose="020B0604020202020204" pitchFamily="34" charset="0"/>
                    </a:rPr>
                  </a:br>
                  <a:endParaRPr lang="en-US" sz="1400" dirty="0">
                    <a:solidFill>
                      <a:schemeClr val="bg2">
                        <a:lumMod val="25000"/>
                      </a:schemeClr>
                    </a:solidFill>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a:t>
                  </a:r>
                  <a:r>
                    <a:rPr lang="en-US" dirty="0" err="1">
                      <a:latin typeface="Arial" panose="020B0604020202020204" pitchFamily="34" charset="0"/>
                      <a:cs typeface="Arial" panose="020B0604020202020204" pitchFamily="34" charset="0"/>
                    </a:rPr>
                    <a:t>changingHFtogether</a:t>
                  </a:r>
                  <a:r>
                    <a:rPr lang="en-US" dirty="0">
                      <a:latin typeface="Arial" panose="020B0604020202020204" pitchFamily="34" charset="0"/>
                      <a:cs typeface="Arial" panose="020B0604020202020204" pitchFamily="34" charset="0"/>
                    </a:rPr>
                    <a:t> </a:t>
                  </a:r>
                  <a:endParaRPr lang="en-US" sz="1050" dirty="0">
                    <a:solidFill>
                      <a:schemeClr val="bg2">
                        <a:lumMod val="25000"/>
                      </a:schemeClr>
                    </a:solidFill>
                    <a:cs typeface="Calibri" panose="020F0502020204030204" pitchFamily="34" charset="0"/>
                  </a:endParaRPr>
                </a:p>
              </p:txBody>
            </p:sp>
          </p:grpSp>
          <p:pic>
            <p:nvPicPr>
              <p:cNvPr id="51" name="Picture 50">
                <a:extLst>
                  <a:ext uri="{FF2B5EF4-FFF2-40B4-BE49-F238E27FC236}">
                    <a16:creationId xmlns:a16="http://schemas.microsoft.com/office/drawing/2014/main" id="{90815FB4-085B-4854-848D-3A17A6D6D6C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89072" y="1992623"/>
                <a:ext cx="4926010" cy="709346"/>
              </a:xfrm>
              <a:prstGeom prst="rect">
                <a:avLst/>
              </a:prstGeom>
            </p:spPr>
          </p:pic>
        </p:grpSp>
        <p:cxnSp>
          <p:nvCxnSpPr>
            <p:cNvPr id="9" name="Straight Connector 8">
              <a:extLst>
                <a:ext uri="{FF2B5EF4-FFF2-40B4-BE49-F238E27FC236}">
                  <a16:creationId xmlns:a16="http://schemas.microsoft.com/office/drawing/2014/main" id="{7DF2FE58-3920-43A0-90BE-D472F14E7EBA}"/>
                </a:ext>
              </a:extLst>
            </p:cNvPr>
            <p:cNvCxnSpPr>
              <a:cxnSpLocks/>
            </p:cNvCxnSpPr>
            <p:nvPr/>
          </p:nvCxnSpPr>
          <p:spPr>
            <a:xfrm flipH="1">
              <a:off x="6936740" y="3581521"/>
              <a:ext cx="2589468"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E200F52-B11E-496E-B3F6-0965F1C795DC}"/>
                </a:ext>
              </a:extLst>
            </p:cNvPr>
            <p:cNvSpPr/>
            <p:nvPr/>
          </p:nvSpPr>
          <p:spPr>
            <a:xfrm>
              <a:off x="1606426" y="1895748"/>
              <a:ext cx="1866351" cy="830997"/>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Sample key messaging from HF Charter</a:t>
              </a:r>
            </a:p>
          </p:txBody>
        </p:sp>
        <p:sp>
          <p:nvSpPr>
            <p:cNvPr id="12" name="Left Brace 11">
              <a:extLst>
                <a:ext uri="{FF2B5EF4-FFF2-40B4-BE49-F238E27FC236}">
                  <a16:creationId xmlns:a16="http://schemas.microsoft.com/office/drawing/2014/main" id="{1A20A2F0-67A3-430A-8017-3BF79A96E21D}"/>
                </a:ext>
              </a:extLst>
            </p:cNvPr>
            <p:cNvSpPr/>
            <p:nvPr/>
          </p:nvSpPr>
          <p:spPr>
            <a:xfrm>
              <a:off x="3616910" y="1502991"/>
              <a:ext cx="577666" cy="1761023"/>
            </a:xfrm>
            <a:prstGeom prst="leftBrace">
              <a:avLst>
                <a:gd name="adj1" fmla="val 54062"/>
                <a:gd name="adj2" fmla="val 47115"/>
              </a:avLst>
            </a:prstGeom>
            <a:ln w="28575">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4" name="Rectangle 63">
              <a:extLst>
                <a:ext uri="{FF2B5EF4-FFF2-40B4-BE49-F238E27FC236}">
                  <a16:creationId xmlns:a16="http://schemas.microsoft.com/office/drawing/2014/main" id="{732EBB04-93DC-4005-A79A-BE0601B551CB}"/>
                </a:ext>
              </a:extLst>
            </p:cNvPr>
            <p:cNvSpPr/>
            <p:nvPr/>
          </p:nvSpPr>
          <p:spPr>
            <a:xfrm>
              <a:off x="9493385" y="3266523"/>
              <a:ext cx="2283609" cy="584775"/>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Link to HF Charter on your website</a:t>
              </a:r>
            </a:p>
          </p:txBody>
        </p:sp>
        <p:sp>
          <p:nvSpPr>
            <p:cNvPr id="65" name="Rectangle 64">
              <a:extLst>
                <a:ext uri="{FF2B5EF4-FFF2-40B4-BE49-F238E27FC236}">
                  <a16:creationId xmlns:a16="http://schemas.microsoft.com/office/drawing/2014/main" id="{809C072D-CAA7-4485-8963-1121C55E2380}"/>
                </a:ext>
              </a:extLst>
            </p:cNvPr>
            <p:cNvSpPr/>
            <p:nvPr/>
          </p:nvSpPr>
          <p:spPr>
            <a:xfrm>
              <a:off x="1287660" y="3632744"/>
              <a:ext cx="2010484" cy="830997"/>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Multi-stakeholder Summit Collective Impact #hashtag</a:t>
              </a:r>
            </a:p>
          </p:txBody>
        </p:sp>
        <p:cxnSp>
          <p:nvCxnSpPr>
            <p:cNvPr id="25" name="Straight Connector 24">
              <a:extLst>
                <a:ext uri="{FF2B5EF4-FFF2-40B4-BE49-F238E27FC236}">
                  <a16:creationId xmlns:a16="http://schemas.microsoft.com/office/drawing/2014/main" id="{1AC3F8FA-F7A5-430B-AB8E-752CFCAFD365}"/>
                </a:ext>
              </a:extLst>
            </p:cNvPr>
            <p:cNvCxnSpPr>
              <a:cxnSpLocks/>
            </p:cNvCxnSpPr>
            <p:nvPr/>
          </p:nvCxnSpPr>
          <p:spPr>
            <a:xfrm flipH="1">
              <a:off x="3351510" y="4048243"/>
              <a:ext cx="825252" cy="0"/>
            </a:xfrm>
            <a:prstGeom prst="line">
              <a:avLst/>
            </a:prstGeom>
            <a:ln w="28575">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E0F8E242-D4C9-4DF7-B156-5DF35F44B093}"/>
                </a:ext>
              </a:extLst>
            </p:cNvPr>
            <p:cNvSpPr/>
            <p:nvPr/>
          </p:nvSpPr>
          <p:spPr>
            <a:xfrm>
              <a:off x="8267230" y="4046214"/>
              <a:ext cx="2939250" cy="1077218"/>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Suggested secondary #hashtags to leverage impressions from AHA Scientific Sessions 2019</a:t>
              </a:r>
            </a:p>
          </p:txBody>
        </p:sp>
        <p:sp>
          <p:nvSpPr>
            <p:cNvPr id="80" name="Rectangle 79">
              <a:extLst>
                <a:ext uri="{FF2B5EF4-FFF2-40B4-BE49-F238E27FC236}">
                  <a16:creationId xmlns:a16="http://schemas.microsoft.com/office/drawing/2014/main" id="{46135750-0CC7-4CFE-B091-037CA1F7A87A}"/>
                </a:ext>
              </a:extLst>
            </p:cNvPr>
            <p:cNvSpPr/>
            <p:nvPr/>
          </p:nvSpPr>
          <p:spPr>
            <a:xfrm>
              <a:off x="4218190" y="3883876"/>
              <a:ext cx="2417396" cy="286397"/>
            </a:xfrm>
            <a:prstGeom prst="rect">
              <a:avLst/>
            </a:prstGeom>
            <a:noFill/>
            <a:ln w="2857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57FF8F79-B796-4265-A328-6A7E9B6CD17D}"/>
                </a:ext>
              </a:extLst>
            </p:cNvPr>
            <p:cNvSpPr/>
            <p:nvPr/>
          </p:nvSpPr>
          <p:spPr>
            <a:xfrm>
              <a:off x="4214038" y="4201073"/>
              <a:ext cx="2659702" cy="369332"/>
            </a:xfrm>
            <a:prstGeom prst="rect">
              <a:avLst/>
            </a:prstGeom>
            <a:ln w="28575">
              <a:solidFill>
                <a:schemeClr val="accent1"/>
              </a:solidFill>
              <a:prstDash val="sysDot"/>
            </a:ln>
          </p:spPr>
          <p:txBody>
            <a:bodyPr wrap="none">
              <a:spAutoFit/>
            </a:bodyPr>
            <a:lstStyle/>
            <a:p>
              <a:pPr lvl="0"/>
              <a:r>
                <a:rPr lang="en-US" dirty="0">
                  <a:solidFill>
                    <a:srgbClr val="000000"/>
                  </a:solidFill>
                  <a:latin typeface="Arial" panose="020B0604020202020204" pitchFamily="34" charset="0"/>
                  <a:cs typeface="Arial" panose="020B0604020202020204" pitchFamily="34" charset="0"/>
                </a:rPr>
                <a:t>#AHA19 #RiseAboveHF</a:t>
              </a:r>
            </a:p>
          </p:txBody>
        </p:sp>
        <p:cxnSp>
          <p:nvCxnSpPr>
            <p:cNvPr id="83" name="Straight Connector 82">
              <a:extLst>
                <a:ext uri="{FF2B5EF4-FFF2-40B4-BE49-F238E27FC236}">
                  <a16:creationId xmlns:a16="http://schemas.microsoft.com/office/drawing/2014/main" id="{233E2937-4291-42F3-A198-5C35F44F32E1}"/>
                </a:ext>
              </a:extLst>
            </p:cNvPr>
            <p:cNvCxnSpPr>
              <a:cxnSpLocks/>
            </p:cNvCxnSpPr>
            <p:nvPr/>
          </p:nvCxnSpPr>
          <p:spPr>
            <a:xfrm flipH="1">
              <a:off x="6945154" y="4384410"/>
              <a:ext cx="1577754" cy="0"/>
            </a:xfrm>
            <a:prstGeom prst="line">
              <a:avLst/>
            </a:prstGeom>
            <a:ln w="28575">
              <a:prstDash val="sysDot"/>
            </a:ln>
          </p:spPr>
          <p:style>
            <a:lnRef idx="1">
              <a:schemeClr val="accent1"/>
            </a:lnRef>
            <a:fillRef idx="0">
              <a:schemeClr val="accent1"/>
            </a:fillRef>
            <a:effectRef idx="0">
              <a:schemeClr val="accent1"/>
            </a:effectRef>
            <a:fontRef idx="minor">
              <a:schemeClr val="tx1"/>
            </a:fontRef>
          </p:style>
        </p:cxnSp>
      </p:grpSp>
      <p:sp>
        <p:nvSpPr>
          <p:cNvPr id="84" name="Rectangle 83">
            <a:extLst>
              <a:ext uri="{FF2B5EF4-FFF2-40B4-BE49-F238E27FC236}">
                <a16:creationId xmlns:a16="http://schemas.microsoft.com/office/drawing/2014/main" id="{E5F8D042-303A-4501-8164-1613A3CD7A06}"/>
              </a:ext>
            </a:extLst>
          </p:cNvPr>
          <p:cNvSpPr/>
          <p:nvPr/>
        </p:nvSpPr>
        <p:spPr>
          <a:xfrm>
            <a:off x="457939" y="5331331"/>
            <a:ext cx="11276121" cy="523220"/>
          </a:xfrm>
          <a:prstGeom prst="rect">
            <a:avLst/>
          </a:prstGeom>
        </p:spPr>
        <p:txBody>
          <a:bodyPr wrap="square">
            <a:spAutoFit/>
          </a:bodyPr>
          <a:lstStyle/>
          <a:p>
            <a:pPr algn="ctr"/>
            <a:r>
              <a:rPr lang="en-US" sz="1400" b="1" dirty="0">
                <a:solidFill>
                  <a:schemeClr val="tx2"/>
                </a:solidFill>
                <a:latin typeface="Arial" panose="020B0604020202020204" pitchFamily="34" charset="0"/>
                <a:cs typeface="Arial" panose="020B0604020202020204" pitchFamily="34" charset="0"/>
              </a:rPr>
              <a:t>Please note that this post is merely a sample to support your brainstorming. Feel free to use or reference. </a:t>
            </a:r>
          </a:p>
          <a:p>
            <a:pPr algn="ctr"/>
            <a:r>
              <a:rPr lang="en-US" sz="1400" b="1" dirty="0">
                <a:solidFill>
                  <a:schemeClr val="tx2"/>
                </a:solidFill>
                <a:latin typeface="Arial" panose="020B0604020202020204" pitchFamily="34" charset="0"/>
                <a:cs typeface="Arial" panose="020B0604020202020204" pitchFamily="34" charset="0"/>
              </a:rPr>
              <a:t>We encourage you to customize your HF Charter posts based on your own organization’s voice and style. </a:t>
            </a:r>
            <a:endParaRPr lang="en-US" dirty="0">
              <a:solidFill>
                <a:schemeClr val="tx2"/>
              </a:solidFill>
            </a:endParaRPr>
          </a:p>
        </p:txBody>
      </p:sp>
    </p:spTree>
    <p:extLst>
      <p:ext uri="{BB962C8B-B14F-4D97-AF65-F5344CB8AC3E}">
        <p14:creationId xmlns:p14="http://schemas.microsoft.com/office/powerpoint/2010/main" val="837767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2Iq1m9jRWaMnHZvYHFgPw"/>
</p:tagLst>
</file>

<file path=ppt/theme/theme1.xml><?xml version="1.0" encoding="utf-8"?>
<a:theme xmlns:a="http://schemas.openxmlformats.org/drawingml/2006/main" name="Office Theme">
  <a:themeElements>
    <a:clrScheme name="Voz Advisors">
      <a:dk1>
        <a:srgbClr val="000000"/>
      </a:dk1>
      <a:lt1>
        <a:srgbClr val="FFFFFF"/>
      </a:lt1>
      <a:dk2>
        <a:srgbClr val="94165D"/>
      </a:dk2>
      <a:lt2>
        <a:srgbClr val="E7E6E6"/>
      </a:lt2>
      <a:accent1>
        <a:srgbClr val="54C3B9"/>
      </a:accent1>
      <a:accent2>
        <a:srgbClr val="94165D"/>
      </a:accent2>
      <a:accent3>
        <a:srgbClr val="FBCC57"/>
      </a:accent3>
      <a:accent4>
        <a:srgbClr val="9B9CA0"/>
      </a:accent4>
      <a:accent5>
        <a:srgbClr val="000000"/>
      </a:accent5>
      <a:accent6>
        <a:srgbClr val="54C3B9"/>
      </a:accent6>
      <a:hlink>
        <a:srgbClr val="94165D"/>
      </a:hlink>
      <a:folHlink>
        <a:srgbClr val="FBCC57"/>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2</TotalTime>
  <Words>771</Words>
  <Application>Microsoft Office PowerPoint</Application>
  <PresentationFormat>Widescreen</PresentationFormat>
  <Paragraphs>46</Paragraphs>
  <Slides>4</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Arial</vt:lpstr>
      <vt:lpstr>Calibri</vt:lpstr>
      <vt:lpstr>Helvetica</vt:lpstr>
      <vt:lpstr>Helvetica Light</vt:lpstr>
      <vt:lpstr>Wingdings</vt:lpstr>
      <vt:lpstr>Office Theme</vt:lpstr>
      <vt:lpstr>think-cell Slide</vt:lpstr>
      <vt:lpstr>Sample Language for Communications Heart Failure Charter</vt:lpstr>
      <vt:lpstr>Key messaging extrapolated from the Charter</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ssemination Plan  Heart Failure Charter + Patient Empowerment Tool</dc:title>
  <dc:creator>Richard Balagtas</dc:creator>
  <cp:lastModifiedBy>Richard Balagtas</cp:lastModifiedBy>
  <cp:revision>42</cp:revision>
  <dcterms:created xsi:type="dcterms:W3CDTF">2019-10-22T16:28:25Z</dcterms:created>
  <dcterms:modified xsi:type="dcterms:W3CDTF">2019-11-07T16:40:41Z</dcterms:modified>
</cp:coreProperties>
</file>